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" ContentType="image/tif"/>
  <Default Extension="xlsx" ContentType="application/vnd.openxmlformats-officedocument.spreadsheetml.sheet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4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5" r:id="rId2"/>
    <p:sldMasterId id="2147483690" r:id="rId3"/>
    <p:sldMasterId id="2147483718" r:id="rId4"/>
    <p:sldMasterId id="2147483737" r:id="rId5"/>
  </p:sldMasterIdLst>
  <p:notesMasterIdLst>
    <p:notesMasterId r:id="rId16"/>
  </p:notesMasterIdLst>
  <p:sldIdLst>
    <p:sldId id="268" r:id="rId6"/>
    <p:sldId id="277" r:id="rId7"/>
    <p:sldId id="271" r:id="rId8"/>
    <p:sldId id="280" r:id="rId9"/>
    <p:sldId id="279" r:id="rId10"/>
    <p:sldId id="270" r:id="rId11"/>
    <p:sldId id="263" r:id="rId12"/>
    <p:sldId id="276" r:id="rId13"/>
    <p:sldId id="265" r:id="rId14"/>
    <p:sldId id="281" r:id="rId15"/>
  </p:sldIdLst>
  <p:sldSz cx="12192000" cy="6858000"/>
  <p:notesSz cx="6858000" cy="9144000"/>
  <p:defaultTextStyle>
    <a:defPPr>
      <a:defRPr lang="es-E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226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5A0F"/>
    <a:srgbClr val="0555FA"/>
    <a:srgbClr val="FF0F64"/>
    <a:srgbClr val="41B9E6"/>
    <a:srgbClr val="008C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75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258" y="84"/>
      </p:cViewPr>
      <p:guideLst>
        <p:guide orient="horz" pos="3226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s-ES"/>
  <c:roundedCorners val="0"/>
  <c:style val="18"/>
  <c:chart>
    <c:autoTitleDeleted val="1"/>
    <c:plotArea>
      <c:layout>
        <c:manualLayout>
          <c:layoutTarget val="inner"/>
          <c:xMode val="edge"/>
          <c:yMode val="edge"/>
          <c:x val="5.0000000000000001E-3"/>
          <c:y val="5.0000000000000001E-3"/>
          <c:w val="0.99"/>
          <c:h val="0.98750000000000004"/>
        </c:manualLayout>
      </c:layout>
      <c:pieChart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Región 1</c:v>
                </c:pt>
              </c:strCache>
            </c:strRef>
          </c:tx>
          <c:spPr>
            <a:solidFill>
              <a:srgbClr val="1269F7"/>
            </a:solidFill>
            <a:ln w="12700" cap="flat">
              <a:noFill/>
              <a:miter lim="400000"/>
            </a:ln>
            <a:effectLst/>
          </c:spP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A3B9-413A-BE93-813BF3485A3C}"/>
              </c:ext>
            </c:extLst>
          </c:dPt>
          <c:dPt>
            <c:idx val="1"/>
            <c:bubble3D val="0"/>
            <c:spPr>
              <a:solidFill>
                <a:srgbClr val="0A38B3"/>
              </a:solidFill>
              <a:ln w="12700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2-A3B9-413A-BE93-813BF3485A3C}"/>
              </c:ext>
            </c:extLst>
          </c:dPt>
          <c:dPt>
            <c:idx val="2"/>
            <c:bubble3D val="0"/>
            <c:spPr>
              <a:solidFill>
                <a:srgbClr val="042072"/>
              </a:solidFill>
              <a:ln w="12700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4-A3B9-413A-BE93-813BF3485A3C}"/>
              </c:ext>
            </c:extLst>
          </c:dPt>
          <c:dPt>
            <c:idx val="3"/>
            <c:bubble3D val="0"/>
            <c:spPr>
              <a:solidFill>
                <a:srgbClr val="2DACE1"/>
              </a:solidFill>
              <a:ln w="12700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6-A3B9-413A-BE93-813BF3485A3C}"/>
              </c:ext>
            </c:extLst>
          </c:dPt>
          <c:dPt>
            <c:idx val="4"/>
            <c:bubble3D val="0"/>
            <c:spPr>
              <a:solidFill>
                <a:srgbClr val="42CAF8"/>
              </a:solidFill>
              <a:ln w="12700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8-A3B9-413A-BE93-813BF3485A3C}"/>
              </c:ext>
            </c:extLst>
          </c:dPt>
          <c:dPt>
            <c:idx val="5"/>
            <c:bubble3D val="0"/>
            <c:spPr>
              <a:solidFill>
                <a:srgbClr val="77DAFF"/>
              </a:solidFill>
              <a:ln w="12700" cap="flat">
                <a:noFill/>
                <a:miter lim="4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A-A3B9-413A-BE93-813BF3485A3C}"/>
              </c:ext>
            </c:extLst>
          </c:dPt>
          <c:cat>
            <c:strRef>
              <c:f>Sheet1!$B$1:$G$1</c:f>
              <c:strCache>
                <c:ptCount val="6"/>
                <c:pt idx="0">
                  <c:v>Gasolina</c:v>
                </c:pt>
                <c:pt idx="1">
                  <c:v>Gasoleo</c:v>
                </c:pt>
                <c:pt idx="2">
                  <c:v>Gas natural</c:v>
                </c:pt>
                <c:pt idx="3">
                  <c:v>Electricidad</c:v>
                </c:pt>
                <c:pt idx="4">
                  <c:v>Biocarburantes</c:v>
                </c:pt>
                <c:pt idx="5">
                  <c:v>LPG</c:v>
                </c:pt>
              </c:strCache>
            </c:strRef>
          </c:cat>
          <c:val>
            <c:numRef>
              <c:f>Sheet1!$B$2:$G$2</c:f>
              <c:numCache>
                <c:formatCode>General</c:formatCode>
                <c:ptCount val="6"/>
                <c:pt idx="0">
                  <c:v>26</c:v>
                </c:pt>
                <c:pt idx="1">
                  <c:v>64</c:v>
                </c:pt>
                <c:pt idx="2">
                  <c:v>1</c:v>
                </c:pt>
                <c:pt idx="3">
                  <c:v>2</c:v>
                </c:pt>
                <c:pt idx="4">
                  <c:v>5</c:v>
                </c:pt>
                <c:pt idx="5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A3B9-413A-BE93-813BF3485A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 w="12700" cap="flat">
          <a:noFill/>
          <a:miter lim="400000"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1353E-2"/>
          <c:y val="5.6597799999999997E-2"/>
          <c:w val="0.97364700000000004"/>
          <c:h val="0.8535519999999999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MP y LOG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Gasolina</c:v>
                </c:pt>
                <c:pt idx="1">
                  <c:v>Gasóleo</c:v>
                </c:pt>
                <c:pt idx="2">
                  <c:v>GNV</c:v>
                </c:pt>
                <c:pt idx="3">
                  <c:v>GLP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99</c:v>
                </c:pt>
                <c:pt idx="1">
                  <c:v>3.66</c:v>
                </c:pt>
                <c:pt idx="2">
                  <c:v>3.2</c:v>
                </c:pt>
                <c:pt idx="3">
                  <c:v>5.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2CF-44D2-80D5-1B2FAD5917F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EH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12CF-44D2-80D5-1B2FAD5917F1}"/>
              </c:ext>
            </c:extLst>
          </c:dPt>
          <c:dPt>
            <c:idx val="1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12CF-44D2-80D5-1B2FAD5917F1}"/>
              </c:ext>
            </c:extLst>
          </c:dPt>
          <c:dPt>
            <c:idx val="2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12CF-44D2-80D5-1B2FAD5917F1}"/>
              </c:ext>
            </c:extLst>
          </c:dPt>
          <c:dPt>
            <c:idx val="3"/>
            <c:invertIfNegative val="0"/>
            <c:bubble3D val="0"/>
            <c:spPr>
              <a:solidFill>
                <a:srgbClr val="00B0F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12CF-44D2-80D5-1B2FAD5917F1}"/>
              </c:ext>
            </c:extLst>
          </c:dPt>
          <c:cat>
            <c:strRef>
              <c:f>Sheet1!$A$2:$A$5</c:f>
              <c:strCache>
                <c:ptCount val="4"/>
                <c:pt idx="0">
                  <c:v>Gasolina</c:v>
                </c:pt>
                <c:pt idx="1">
                  <c:v>Gasóleo</c:v>
                </c:pt>
                <c:pt idx="2">
                  <c:v>GNV</c:v>
                </c:pt>
                <c:pt idx="3">
                  <c:v>GLP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52</c:v>
                </c:pt>
                <c:pt idx="1">
                  <c:v>1.41</c:v>
                </c:pt>
                <c:pt idx="2">
                  <c:v>0.15</c:v>
                </c:pt>
                <c:pt idx="3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12CF-44D2-80D5-1B2FAD5917F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IVA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Gasolina</c:v>
                </c:pt>
                <c:pt idx="1">
                  <c:v>Gasóleo</c:v>
                </c:pt>
                <c:pt idx="2">
                  <c:v>GNV</c:v>
                </c:pt>
                <c:pt idx="3">
                  <c:v>GLP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1.41</c:v>
                </c:pt>
                <c:pt idx="1">
                  <c:v>0.95</c:v>
                </c:pt>
                <c:pt idx="2">
                  <c:v>0.6</c:v>
                </c:pt>
                <c:pt idx="3">
                  <c:v>1.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2CF-44D2-80D5-1B2FAD591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9"/>
        <c:overlap val="100"/>
        <c:axId val="306614208"/>
        <c:axId val="358916992"/>
      </c:barChart>
      <c:catAx>
        <c:axId val="30661420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064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s-ES"/>
          </a:p>
        </c:txPr>
        <c:crossAx val="358916992"/>
        <c:crosses val="autoZero"/>
        <c:auto val="1"/>
        <c:lblAlgn val="ctr"/>
        <c:lblOffset val="100"/>
        <c:noMultiLvlLbl val="1"/>
      </c:catAx>
      <c:valAx>
        <c:axId val="358916992"/>
        <c:scaling>
          <c:orientation val="minMax"/>
        </c:scaling>
        <c:delete val="1"/>
        <c:axPos val="l"/>
        <c:numFmt formatCode="0.00" sourceLinked="0"/>
        <c:majorTickMark val="none"/>
        <c:minorTickMark val="none"/>
        <c:tickLblPos val="none"/>
        <c:crossAx val="306614208"/>
        <c:crosses val="autoZero"/>
        <c:crossBetween val="between"/>
        <c:majorUnit val="2.25"/>
        <c:minorUnit val="1.125"/>
      </c:valAx>
      <c:spPr>
        <a:noFill/>
        <a:ln>
          <a:noFill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08ED198-5D0D-4A1C-A4C4-F1DC8A5208CE}" type="doc">
      <dgm:prSet loTypeId="urn:microsoft.com/office/officeart/2005/8/layout/radial6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ES"/>
        </a:p>
      </dgm:t>
    </dgm:pt>
    <dgm:pt modelId="{498B0876-561F-4224-9C13-DDDBE5A8950B}">
      <dgm:prSet phldrT="[Texto]"/>
      <dgm:spPr>
        <a:solidFill>
          <a:srgbClr val="FF0F64"/>
        </a:solidFill>
      </dgm:spPr>
      <dgm:t>
        <a:bodyPr/>
        <a:lstStyle/>
        <a:p>
          <a:r>
            <a:rPr lang="es-ES" dirty="0" smtClean="0">
              <a:latin typeface="Univers LT Std 45 Light"/>
            </a:rPr>
            <a:t>Logística</a:t>
          </a:r>
          <a:endParaRPr lang="es-ES" dirty="0">
            <a:latin typeface="Univers LT Std 45 Light"/>
          </a:endParaRPr>
        </a:p>
      </dgm:t>
    </dgm:pt>
    <dgm:pt modelId="{0381BFBD-731A-416F-8666-E33513CADD8D}" type="parTrans" cxnId="{436E2878-B84B-4D6E-9361-EE5E9BABF1EE}">
      <dgm:prSet/>
      <dgm:spPr/>
      <dgm:t>
        <a:bodyPr/>
        <a:lstStyle/>
        <a:p>
          <a:endParaRPr lang="es-ES"/>
        </a:p>
      </dgm:t>
    </dgm:pt>
    <dgm:pt modelId="{F562E573-E6E0-4694-AAB4-DAEDBEF851D1}" type="sibTrans" cxnId="{436E2878-B84B-4D6E-9361-EE5E9BABF1EE}">
      <dgm:prSet/>
      <dgm:spPr>
        <a:gradFill rotWithShape="0">
          <a:gsLst>
            <a:gs pos="0">
              <a:srgbClr val="FF0F64"/>
            </a:gs>
            <a:gs pos="100000">
              <a:srgbClr val="0555FA"/>
            </a:gs>
          </a:gsLst>
          <a:lin ang="0" scaled="1"/>
        </a:gradFill>
      </dgm:spPr>
      <dgm:t>
        <a:bodyPr/>
        <a:lstStyle/>
        <a:p>
          <a:endParaRPr lang="es-ES"/>
        </a:p>
      </dgm:t>
    </dgm:pt>
    <dgm:pt modelId="{533D6306-5421-4B0A-A167-24B7767482F8}">
      <dgm:prSet phldrT="[Texto]"/>
      <dgm:spPr>
        <a:solidFill>
          <a:srgbClr val="0555FA"/>
        </a:solidFill>
      </dgm:spPr>
      <dgm:t>
        <a:bodyPr/>
        <a:lstStyle/>
        <a:p>
          <a:endParaRPr lang="es-ES" dirty="0">
            <a:latin typeface="Univers LT Std 45 Light"/>
          </a:endParaRPr>
        </a:p>
      </dgm:t>
    </dgm:pt>
    <dgm:pt modelId="{19FFB315-3E95-4A4B-992B-62EC8D33DC93}" type="parTrans" cxnId="{F1A6BA73-A371-4FD0-8E75-08587E7CEB3A}">
      <dgm:prSet/>
      <dgm:spPr/>
      <dgm:t>
        <a:bodyPr/>
        <a:lstStyle/>
        <a:p>
          <a:endParaRPr lang="es-ES"/>
        </a:p>
      </dgm:t>
    </dgm:pt>
    <dgm:pt modelId="{6C1FE679-CF1E-4B7C-A1D3-954A81D75ACB}" type="sibTrans" cxnId="{F1A6BA73-A371-4FD0-8E75-08587E7CEB3A}">
      <dgm:prSet/>
      <dgm:spPr>
        <a:gradFill rotWithShape="0">
          <a:gsLst>
            <a:gs pos="0">
              <a:srgbClr val="FF5A0F"/>
            </a:gs>
            <a:gs pos="100000">
              <a:srgbClr val="0555FA"/>
            </a:gs>
          </a:gsLst>
          <a:lin ang="0" scaled="1"/>
        </a:gradFill>
      </dgm:spPr>
      <dgm:t>
        <a:bodyPr/>
        <a:lstStyle/>
        <a:p>
          <a:endParaRPr lang="es-ES"/>
        </a:p>
      </dgm:t>
    </dgm:pt>
    <dgm:pt modelId="{C00EA48C-E01B-4148-9234-5C80A97A75A3}">
      <dgm:prSet phldrT="[Texto]"/>
      <dgm:spPr>
        <a:solidFill>
          <a:srgbClr val="FF5A0F"/>
        </a:solidFill>
        <a:ln>
          <a:solidFill>
            <a:schemeClr val="bg1"/>
          </a:solidFill>
        </a:ln>
      </dgm:spPr>
      <dgm:t>
        <a:bodyPr/>
        <a:lstStyle/>
        <a:p>
          <a:endParaRPr lang="es-ES" dirty="0" smtClean="0">
            <a:latin typeface="Univers LT Std 45 Light"/>
          </a:endParaRPr>
        </a:p>
        <a:p>
          <a:r>
            <a:rPr lang="es-ES" dirty="0" smtClean="0">
              <a:latin typeface="Univers LT Std 45 Light"/>
            </a:rPr>
            <a:t>Cliente</a:t>
          </a:r>
        </a:p>
        <a:p>
          <a:endParaRPr lang="es-ES" dirty="0">
            <a:latin typeface="Univers LT Std 45 Light"/>
          </a:endParaRPr>
        </a:p>
      </dgm:t>
    </dgm:pt>
    <dgm:pt modelId="{0D8FA148-4B6B-4229-BB97-800631EE9CAE}" type="parTrans" cxnId="{0F31BB2D-5CA3-473A-A897-139D076DBFC7}">
      <dgm:prSet/>
      <dgm:spPr/>
      <dgm:t>
        <a:bodyPr/>
        <a:lstStyle/>
        <a:p>
          <a:endParaRPr lang="es-ES"/>
        </a:p>
      </dgm:t>
    </dgm:pt>
    <dgm:pt modelId="{9E8E9DE4-9354-466D-AB9C-AA48FFD505D3}" type="sibTrans" cxnId="{0F31BB2D-5CA3-473A-A897-139D076DBFC7}">
      <dgm:prSet/>
      <dgm:spPr>
        <a:gradFill rotWithShape="0">
          <a:gsLst>
            <a:gs pos="0">
              <a:srgbClr val="FF5A0F"/>
            </a:gs>
            <a:gs pos="100000">
              <a:srgbClr val="FF0F64">
                <a:alpha val="23000"/>
              </a:srgbClr>
            </a:gs>
          </a:gsLst>
          <a:lin ang="0" scaled="1"/>
        </a:gradFill>
      </dgm:spPr>
      <dgm:t>
        <a:bodyPr/>
        <a:lstStyle/>
        <a:p>
          <a:endParaRPr lang="es-ES"/>
        </a:p>
      </dgm:t>
    </dgm:pt>
    <dgm:pt modelId="{28C1361F-3968-4854-B8E0-C984E00ECDBD}">
      <dgm:prSet phldrT="[Texto]"/>
      <dgm:spPr/>
      <dgm:t>
        <a:bodyPr/>
        <a:lstStyle/>
        <a:p>
          <a:endParaRPr lang="es-ES" dirty="0"/>
        </a:p>
      </dgm:t>
    </dgm:pt>
    <dgm:pt modelId="{DF0238A7-F2A7-49A9-9AB7-6714DF693636}" type="parTrans" cxnId="{911AE373-718A-4AA1-B000-0AA18E22E5F5}">
      <dgm:prSet/>
      <dgm:spPr/>
      <dgm:t>
        <a:bodyPr/>
        <a:lstStyle/>
        <a:p>
          <a:endParaRPr lang="es-ES"/>
        </a:p>
      </dgm:t>
    </dgm:pt>
    <dgm:pt modelId="{C8AA63CF-A733-444B-949E-0E9855649808}" type="sibTrans" cxnId="{911AE373-718A-4AA1-B000-0AA18E22E5F5}">
      <dgm:prSet/>
      <dgm:spPr/>
      <dgm:t>
        <a:bodyPr/>
        <a:lstStyle/>
        <a:p>
          <a:endParaRPr lang="es-ES"/>
        </a:p>
      </dgm:t>
    </dgm:pt>
    <dgm:pt modelId="{8B897249-BEA8-4EFB-BCA9-068615A3E0CF}">
      <dgm:prSet phldrT="[Texto]"/>
      <dgm:spPr>
        <a:noFill/>
        <a:ln>
          <a:noFill/>
        </a:ln>
      </dgm:spPr>
      <dgm:t>
        <a:bodyPr/>
        <a:lstStyle/>
        <a:p>
          <a:endParaRPr lang="es-ES" dirty="0"/>
        </a:p>
      </dgm:t>
    </dgm:pt>
    <dgm:pt modelId="{600CEF83-AC4F-4188-9D06-00B5604E177F}" type="sibTrans" cxnId="{DCC41454-73D6-488E-A29B-3FC3CB620A7E}">
      <dgm:prSet/>
      <dgm:spPr/>
      <dgm:t>
        <a:bodyPr/>
        <a:lstStyle/>
        <a:p>
          <a:endParaRPr lang="es-ES"/>
        </a:p>
      </dgm:t>
    </dgm:pt>
    <dgm:pt modelId="{12107505-D146-49AF-9484-61592E847276}" type="parTrans" cxnId="{DCC41454-73D6-488E-A29B-3FC3CB620A7E}">
      <dgm:prSet/>
      <dgm:spPr/>
      <dgm:t>
        <a:bodyPr/>
        <a:lstStyle/>
        <a:p>
          <a:endParaRPr lang="es-ES"/>
        </a:p>
      </dgm:t>
    </dgm:pt>
    <dgm:pt modelId="{7750CC81-5CD3-40E7-9246-70A057FA1129}" type="pres">
      <dgm:prSet presAssocID="{E08ED198-5D0D-4A1C-A4C4-F1DC8A5208CE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74882FC8-6AED-460B-9FA4-F07EB4C31B00}" type="pres">
      <dgm:prSet presAssocID="{8B897249-BEA8-4EFB-BCA9-068615A3E0CF}" presName="centerShape" presStyleLbl="node0" presStyleIdx="0" presStyleCnt="1"/>
      <dgm:spPr/>
      <dgm:t>
        <a:bodyPr/>
        <a:lstStyle/>
        <a:p>
          <a:endParaRPr lang="es-ES"/>
        </a:p>
      </dgm:t>
    </dgm:pt>
    <dgm:pt modelId="{B23BA414-A9EA-499E-B3E2-CE3A2DD3D95C}" type="pres">
      <dgm:prSet presAssocID="{498B0876-561F-4224-9C13-DDDBE5A8950B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B79F6365-20B9-4FB8-ACE3-A948EBB3DF1A}" type="pres">
      <dgm:prSet presAssocID="{498B0876-561F-4224-9C13-DDDBE5A8950B}" presName="dummy" presStyleCnt="0"/>
      <dgm:spPr/>
    </dgm:pt>
    <dgm:pt modelId="{75806DC2-D3AA-4C3A-A0A1-5FDE5074C3C8}" type="pres">
      <dgm:prSet presAssocID="{F562E573-E6E0-4694-AAB4-DAEDBEF851D1}" presName="sibTrans" presStyleLbl="sibTrans2D1" presStyleIdx="0" presStyleCnt="3"/>
      <dgm:spPr/>
      <dgm:t>
        <a:bodyPr/>
        <a:lstStyle/>
        <a:p>
          <a:endParaRPr lang="es-ES"/>
        </a:p>
      </dgm:t>
    </dgm:pt>
    <dgm:pt modelId="{B10203B5-2BB1-41FF-888B-681B758F3C95}" type="pres">
      <dgm:prSet presAssocID="{533D6306-5421-4B0A-A167-24B7767482F8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F6050995-964B-43A6-81F8-810062C7E5DC}" type="pres">
      <dgm:prSet presAssocID="{533D6306-5421-4B0A-A167-24B7767482F8}" presName="dummy" presStyleCnt="0"/>
      <dgm:spPr/>
    </dgm:pt>
    <dgm:pt modelId="{B0019245-4022-4EA2-A233-C23152BBC096}" type="pres">
      <dgm:prSet presAssocID="{6C1FE679-CF1E-4B7C-A1D3-954A81D75ACB}" presName="sibTrans" presStyleLbl="sibTrans2D1" presStyleIdx="1" presStyleCnt="3"/>
      <dgm:spPr/>
      <dgm:t>
        <a:bodyPr/>
        <a:lstStyle/>
        <a:p>
          <a:endParaRPr lang="es-ES"/>
        </a:p>
      </dgm:t>
    </dgm:pt>
    <dgm:pt modelId="{34D55759-A4FA-4310-A8A2-6E6DAC785D44}" type="pres">
      <dgm:prSet presAssocID="{C00EA48C-E01B-4148-9234-5C80A97A75A3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CF828F4B-77E9-4270-AF1E-2CCCC99FD955}" type="pres">
      <dgm:prSet presAssocID="{C00EA48C-E01B-4148-9234-5C80A97A75A3}" presName="dummy" presStyleCnt="0"/>
      <dgm:spPr/>
    </dgm:pt>
    <dgm:pt modelId="{583C13CC-9E9A-4885-A3C0-F8C0CA27C10D}" type="pres">
      <dgm:prSet presAssocID="{9E8E9DE4-9354-466D-AB9C-AA48FFD505D3}" presName="sibTrans" presStyleLbl="sibTrans2D1" presStyleIdx="2" presStyleCnt="3"/>
      <dgm:spPr/>
      <dgm:t>
        <a:bodyPr/>
        <a:lstStyle/>
        <a:p>
          <a:endParaRPr lang="es-ES"/>
        </a:p>
      </dgm:t>
    </dgm:pt>
  </dgm:ptLst>
  <dgm:cxnLst>
    <dgm:cxn modelId="{B11D876E-0182-40F6-8FFF-D817E822A2DD}" type="presOf" srcId="{498B0876-561F-4224-9C13-DDDBE5A8950B}" destId="{B23BA414-A9EA-499E-B3E2-CE3A2DD3D95C}" srcOrd="0" destOrd="0" presId="urn:microsoft.com/office/officeart/2005/8/layout/radial6"/>
    <dgm:cxn modelId="{34D26D8E-A075-4FB8-B2EE-44E49066231E}" type="presOf" srcId="{9E8E9DE4-9354-466D-AB9C-AA48FFD505D3}" destId="{583C13CC-9E9A-4885-A3C0-F8C0CA27C10D}" srcOrd="0" destOrd="0" presId="urn:microsoft.com/office/officeart/2005/8/layout/radial6"/>
    <dgm:cxn modelId="{0F31BB2D-5CA3-473A-A897-139D076DBFC7}" srcId="{8B897249-BEA8-4EFB-BCA9-068615A3E0CF}" destId="{C00EA48C-E01B-4148-9234-5C80A97A75A3}" srcOrd="2" destOrd="0" parTransId="{0D8FA148-4B6B-4229-BB97-800631EE9CAE}" sibTransId="{9E8E9DE4-9354-466D-AB9C-AA48FFD505D3}"/>
    <dgm:cxn modelId="{F48DE183-0CB1-48DB-909D-6C3445C1E7AF}" type="presOf" srcId="{E08ED198-5D0D-4A1C-A4C4-F1DC8A5208CE}" destId="{7750CC81-5CD3-40E7-9246-70A057FA1129}" srcOrd="0" destOrd="0" presId="urn:microsoft.com/office/officeart/2005/8/layout/radial6"/>
    <dgm:cxn modelId="{DCC41454-73D6-488E-A29B-3FC3CB620A7E}" srcId="{E08ED198-5D0D-4A1C-A4C4-F1DC8A5208CE}" destId="{8B897249-BEA8-4EFB-BCA9-068615A3E0CF}" srcOrd="0" destOrd="0" parTransId="{12107505-D146-49AF-9484-61592E847276}" sibTransId="{600CEF83-AC4F-4188-9D06-00B5604E177F}"/>
    <dgm:cxn modelId="{72047C01-8900-4889-B3E9-2B175DDA7862}" type="presOf" srcId="{8B897249-BEA8-4EFB-BCA9-068615A3E0CF}" destId="{74882FC8-6AED-460B-9FA4-F07EB4C31B00}" srcOrd="0" destOrd="0" presId="urn:microsoft.com/office/officeart/2005/8/layout/radial6"/>
    <dgm:cxn modelId="{E3627934-2737-443D-820B-05E439CD7D83}" type="presOf" srcId="{6C1FE679-CF1E-4B7C-A1D3-954A81D75ACB}" destId="{B0019245-4022-4EA2-A233-C23152BBC096}" srcOrd="0" destOrd="0" presId="urn:microsoft.com/office/officeart/2005/8/layout/radial6"/>
    <dgm:cxn modelId="{911AE373-718A-4AA1-B000-0AA18E22E5F5}" srcId="{E08ED198-5D0D-4A1C-A4C4-F1DC8A5208CE}" destId="{28C1361F-3968-4854-B8E0-C984E00ECDBD}" srcOrd="1" destOrd="0" parTransId="{DF0238A7-F2A7-49A9-9AB7-6714DF693636}" sibTransId="{C8AA63CF-A733-444B-949E-0E9855649808}"/>
    <dgm:cxn modelId="{F1A6BA73-A371-4FD0-8E75-08587E7CEB3A}" srcId="{8B897249-BEA8-4EFB-BCA9-068615A3E0CF}" destId="{533D6306-5421-4B0A-A167-24B7767482F8}" srcOrd="1" destOrd="0" parTransId="{19FFB315-3E95-4A4B-992B-62EC8D33DC93}" sibTransId="{6C1FE679-CF1E-4B7C-A1D3-954A81D75ACB}"/>
    <dgm:cxn modelId="{436E2878-B84B-4D6E-9361-EE5E9BABF1EE}" srcId="{8B897249-BEA8-4EFB-BCA9-068615A3E0CF}" destId="{498B0876-561F-4224-9C13-DDDBE5A8950B}" srcOrd="0" destOrd="0" parTransId="{0381BFBD-731A-416F-8666-E33513CADD8D}" sibTransId="{F562E573-E6E0-4694-AAB4-DAEDBEF851D1}"/>
    <dgm:cxn modelId="{BB0589ED-F7B7-409E-BB6C-B34ABEF407E2}" type="presOf" srcId="{F562E573-E6E0-4694-AAB4-DAEDBEF851D1}" destId="{75806DC2-D3AA-4C3A-A0A1-5FDE5074C3C8}" srcOrd="0" destOrd="0" presId="urn:microsoft.com/office/officeart/2005/8/layout/radial6"/>
    <dgm:cxn modelId="{31E0C436-B854-4F35-B9F9-9379DE803029}" type="presOf" srcId="{C00EA48C-E01B-4148-9234-5C80A97A75A3}" destId="{34D55759-A4FA-4310-A8A2-6E6DAC785D44}" srcOrd="0" destOrd="0" presId="urn:microsoft.com/office/officeart/2005/8/layout/radial6"/>
    <dgm:cxn modelId="{171E53E5-8C5C-49E0-A7FF-484246CB855F}" type="presOf" srcId="{533D6306-5421-4B0A-A167-24B7767482F8}" destId="{B10203B5-2BB1-41FF-888B-681B758F3C95}" srcOrd="0" destOrd="0" presId="urn:microsoft.com/office/officeart/2005/8/layout/radial6"/>
    <dgm:cxn modelId="{C53F51A4-29B3-4F12-916D-8BFE69F63D6D}" type="presParOf" srcId="{7750CC81-5CD3-40E7-9246-70A057FA1129}" destId="{74882FC8-6AED-460B-9FA4-F07EB4C31B00}" srcOrd="0" destOrd="0" presId="urn:microsoft.com/office/officeart/2005/8/layout/radial6"/>
    <dgm:cxn modelId="{5E55FB6A-2B22-412B-94E2-5A3D84CAA73A}" type="presParOf" srcId="{7750CC81-5CD3-40E7-9246-70A057FA1129}" destId="{B23BA414-A9EA-499E-B3E2-CE3A2DD3D95C}" srcOrd="1" destOrd="0" presId="urn:microsoft.com/office/officeart/2005/8/layout/radial6"/>
    <dgm:cxn modelId="{084BF22B-A768-4007-A437-5085103F516B}" type="presParOf" srcId="{7750CC81-5CD3-40E7-9246-70A057FA1129}" destId="{B79F6365-20B9-4FB8-ACE3-A948EBB3DF1A}" srcOrd="2" destOrd="0" presId="urn:microsoft.com/office/officeart/2005/8/layout/radial6"/>
    <dgm:cxn modelId="{6DBE4ED1-5EA9-4182-AC84-975155D12820}" type="presParOf" srcId="{7750CC81-5CD3-40E7-9246-70A057FA1129}" destId="{75806DC2-D3AA-4C3A-A0A1-5FDE5074C3C8}" srcOrd="3" destOrd="0" presId="urn:microsoft.com/office/officeart/2005/8/layout/radial6"/>
    <dgm:cxn modelId="{51E7A645-7962-4F3F-823C-977110355BFD}" type="presParOf" srcId="{7750CC81-5CD3-40E7-9246-70A057FA1129}" destId="{B10203B5-2BB1-41FF-888B-681B758F3C95}" srcOrd="4" destOrd="0" presId="urn:microsoft.com/office/officeart/2005/8/layout/radial6"/>
    <dgm:cxn modelId="{EDA84707-E5FC-4B79-829A-C94B69420ACE}" type="presParOf" srcId="{7750CC81-5CD3-40E7-9246-70A057FA1129}" destId="{F6050995-964B-43A6-81F8-810062C7E5DC}" srcOrd="5" destOrd="0" presId="urn:microsoft.com/office/officeart/2005/8/layout/radial6"/>
    <dgm:cxn modelId="{90B207BF-1D35-4788-BEC9-AAC96C28C4C8}" type="presParOf" srcId="{7750CC81-5CD3-40E7-9246-70A057FA1129}" destId="{B0019245-4022-4EA2-A233-C23152BBC096}" srcOrd="6" destOrd="0" presId="urn:microsoft.com/office/officeart/2005/8/layout/radial6"/>
    <dgm:cxn modelId="{78C05D0E-52A2-4ADC-9F5D-74C371B532A4}" type="presParOf" srcId="{7750CC81-5CD3-40E7-9246-70A057FA1129}" destId="{34D55759-A4FA-4310-A8A2-6E6DAC785D44}" srcOrd="7" destOrd="0" presId="urn:microsoft.com/office/officeart/2005/8/layout/radial6"/>
    <dgm:cxn modelId="{3B1501EE-13D6-43AF-BA40-9DD0F561567C}" type="presParOf" srcId="{7750CC81-5CD3-40E7-9246-70A057FA1129}" destId="{CF828F4B-77E9-4270-AF1E-2CCCC99FD955}" srcOrd="8" destOrd="0" presId="urn:microsoft.com/office/officeart/2005/8/layout/radial6"/>
    <dgm:cxn modelId="{C34C6FDF-5AB6-4BB4-A953-116F2BC22ECE}" type="presParOf" srcId="{7750CC81-5CD3-40E7-9246-70A057FA1129}" destId="{583C13CC-9E9A-4885-A3C0-F8C0CA27C10D}" srcOrd="9" destOrd="0" presId="urn:microsoft.com/office/officeart/2005/8/layout/radial6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83C13CC-9E9A-4885-A3C0-F8C0CA27C10D}">
      <dsp:nvSpPr>
        <dsp:cNvPr id="0" name=""/>
        <dsp:cNvSpPr/>
      </dsp:nvSpPr>
      <dsp:spPr>
        <a:xfrm>
          <a:off x="1735147" y="634700"/>
          <a:ext cx="4241176" cy="4241176"/>
        </a:xfrm>
        <a:prstGeom prst="blockArc">
          <a:avLst>
            <a:gd name="adj1" fmla="val 9000000"/>
            <a:gd name="adj2" fmla="val 16200000"/>
            <a:gd name="adj3" fmla="val 4636"/>
          </a:avLst>
        </a:prstGeom>
        <a:gradFill rotWithShape="0">
          <a:gsLst>
            <a:gs pos="0">
              <a:srgbClr val="FF5A0F"/>
            </a:gs>
            <a:gs pos="100000">
              <a:srgbClr val="FF0F64">
                <a:alpha val="23000"/>
              </a:srgbClr>
            </a:gs>
          </a:gsLst>
          <a:lin ang="0" scaled="1"/>
        </a:gra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0019245-4022-4EA2-A233-C23152BBC096}">
      <dsp:nvSpPr>
        <dsp:cNvPr id="0" name=""/>
        <dsp:cNvSpPr/>
      </dsp:nvSpPr>
      <dsp:spPr>
        <a:xfrm>
          <a:off x="1735147" y="634700"/>
          <a:ext cx="4241176" cy="4241176"/>
        </a:xfrm>
        <a:prstGeom prst="blockArc">
          <a:avLst>
            <a:gd name="adj1" fmla="val 1800000"/>
            <a:gd name="adj2" fmla="val 9000000"/>
            <a:gd name="adj3" fmla="val 4636"/>
          </a:avLst>
        </a:prstGeom>
        <a:gradFill rotWithShape="0">
          <a:gsLst>
            <a:gs pos="0">
              <a:srgbClr val="FF5A0F"/>
            </a:gs>
            <a:gs pos="100000">
              <a:srgbClr val="0555FA"/>
            </a:gs>
          </a:gsLst>
          <a:lin ang="0" scaled="1"/>
        </a:gra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5806DC2-D3AA-4C3A-A0A1-5FDE5074C3C8}">
      <dsp:nvSpPr>
        <dsp:cNvPr id="0" name=""/>
        <dsp:cNvSpPr/>
      </dsp:nvSpPr>
      <dsp:spPr>
        <a:xfrm>
          <a:off x="1735147" y="634700"/>
          <a:ext cx="4241176" cy="4241176"/>
        </a:xfrm>
        <a:prstGeom prst="blockArc">
          <a:avLst>
            <a:gd name="adj1" fmla="val 16200000"/>
            <a:gd name="adj2" fmla="val 1800000"/>
            <a:gd name="adj3" fmla="val 4636"/>
          </a:avLst>
        </a:prstGeom>
        <a:gradFill rotWithShape="0">
          <a:gsLst>
            <a:gs pos="0">
              <a:srgbClr val="FF0F64"/>
            </a:gs>
            <a:gs pos="100000">
              <a:srgbClr val="0555FA"/>
            </a:gs>
          </a:gsLst>
          <a:lin ang="0" scaled="1"/>
        </a:gra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4882FC8-6AED-460B-9FA4-F07EB4C31B00}">
      <dsp:nvSpPr>
        <dsp:cNvPr id="0" name=""/>
        <dsp:cNvSpPr/>
      </dsp:nvSpPr>
      <dsp:spPr>
        <a:xfrm>
          <a:off x="2880505" y="1780058"/>
          <a:ext cx="1950460" cy="1950460"/>
        </a:xfrm>
        <a:prstGeom prst="ellipse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6500" kern="1200" dirty="0"/>
        </a:p>
      </dsp:txBody>
      <dsp:txXfrm>
        <a:off x="3166143" y="2065696"/>
        <a:ext cx="1379184" cy="1379184"/>
      </dsp:txXfrm>
    </dsp:sp>
    <dsp:sp modelId="{B23BA414-A9EA-499E-B3E2-CE3A2DD3D95C}">
      <dsp:nvSpPr>
        <dsp:cNvPr id="0" name=""/>
        <dsp:cNvSpPr/>
      </dsp:nvSpPr>
      <dsp:spPr>
        <a:xfrm>
          <a:off x="3173074" y="1190"/>
          <a:ext cx="1365322" cy="1365322"/>
        </a:xfrm>
        <a:prstGeom prst="ellipse">
          <a:avLst/>
        </a:prstGeom>
        <a:solidFill>
          <a:srgbClr val="FF0F6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800" kern="1200" dirty="0" smtClean="0">
              <a:latin typeface="Univers LT Std 45 Light"/>
            </a:rPr>
            <a:t>Logística</a:t>
          </a:r>
          <a:endParaRPr lang="es-ES" sz="1800" kern="1200" dirty="0">
            <a:latin typeface="Univers LT Std 45 Light"/>
          </a:endParaRPr>
        </a:p>
      </dsp:txBody>
      <dsp:txXfrm>
        <a:off x="3373021" y="201137"/>
        <a:ext cx="965428" cy="965428"/>
      </dsp:txXfrm>
    </dsp:sp>
    <dsp:sp modelId="{B10203B5-2BB1-41FF-888B-681B758F3C95}">
      <dsp:nvSpPr>
        <dsp:cNvPr id="0" name=""/>
        <dsp:cNvSpPr/>
      </dsp:nvSpPr>
      <dsp:spPr>
        <a:xfrm>
          <a:off x="4966991" y="3108345"/>
          <a:ext cx="1365322" cy="1365322"/>
        </a:xfrm>
        <a:prstGeom prst="ellipse">
          <a:avLst/>
        </a:prstGeom>
        <a:solidFill>
          <a:srgbClr val="0555FA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1800" kern="1200" dirty="0">
            <a:latin typeface="Univers LT Std 45 Light"/>
          </a:endParaRPr>
        </a:p>
      </dsp:txBody>
      <dsp:txXfrm>
        <a:off x="5166938" y="3308292"/>
        <a:ext cx="965428" cy="965428"/>
      </dsp:txXfrm>
    </dsp:sp>
    <dsp:sp modelId="{34D55759-A4FA-4310-A8A2-6E6DAC785D44}">
      <dsp:nvSpPr>
        <dsp:cNvPr id="0" name=""/>
        <dsp:cNvSpPr/>
      </dsp:nvSpPr>
      <dsp:spPr>
        <a:xfrm>
          <a:off x="1379158" y="3108345"/>
          <a:ext cx="1365322" cy="1365322"/>
        </a:xfrm>
        <a:prstGeom prst="ellipse">
          <a:avLst/>
        </a:prstGeom>
        <a:solidFill>
          <a:srgbClr val="FF5A0F"/>
        </a:solidFill>
        <a:ln w="25400" cap="flat" cmpd="sng" algn="ctr">
          <a:solidFill>
            <a:schemeClr val="bg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1800" kern="1200" dirty="0" smtClean="0">
            <a:latin typeface="Univers LT Std 45 Light"/>
          </a:endParaRP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800" kern="1200" dirty="0" smtClean="0">
              <a:latin typeface="Univers LT Std 45 Light"/>
            </a:rPr>
            <a:t>Cliente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1800" kern="1200" dirty="0">
            <a:latin typeface="Univers LT Std 45 Light"/>
          </a:endParaRPr>
        </a:p>
      </dsp:txBody>
      <dsp:txXfrm>
        <a:off x="1579105" y="3308292"/>
        <a:ext cx="965428" cy="96542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6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connRout" val="curve"/>
                    <dgm:param type="begPts" val="ctr"/>
                    <dgm:param type="endPts" val="ctr"/>
                    <dgm:param type="begSty" val="noArr"/>
                    <dgm:param type="endSty" val="noArr"/>
                    <dgm:param type="dstNode" val="node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connRout" val="longCurve"/>
                    <dgm:param type="begPts" val="bCtr"/>
                    <dgm:param type="endPts" val="tCtr"/>
                    <dgm:param type="begSty" val="noArr"/>
                    <dgm:param type="endSty" val="noArr"/>
                    <dgm:param type="srcNode" val="dummyConnPt"/>
                    <dgm:param type="dstNode" val="dummyConnPt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9B0AA2-6679-4341-8147-9C93A1E0D08C}" type="datetimeFigureOut">
              <a:rPr lang="es-ES" smtClean="0"/>
              <a:t>15/06/2018</a:t>
            </a:fld>
            <a:endParaRPr lang="es-ES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Edit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E2CEB6-552B-4464-8D85-20970493560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002772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5505921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904411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2870583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156983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8839593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653797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856167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1" y="1723877"/>
            <a:ext cx="7616824" cy="1368425"/>
          </a:xfrm>
        </p:spPr>
        <p:txBody>
          <a:bodyPr anchor="t">
            <a:noAutofit/>
          </a:bodyPr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2825" y="3429007"/>
            <a:ext cx="6109388" cy="27699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smtClean="0"/>
              <a:t>Haga clic para modificar el estilo de subtítulo del patrón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5519" y="3429007"/>
            <a:ext cx="1510613" cy="276999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18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377B34-6D7B-4E8C-BE0C-57CEA27E5C89}" type="datetime1">
              <a:rPr kumimoji="0" lang="en-GB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/06/2018</a:t>
            </a:fld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 userDrawn="1"/>
        </p:nvSpPr>
        <p:spPr>
          <a:xfrm rot="16200000">
            <a:off x="1615349" y="-157777"/>
            <a:ext cx="691602" cy="239829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0116" y="5536543"/>
            <a:ext cx="3075759" cy="661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99464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itle</a:t>
            </a:r>
            <a:r>
              <a:rPr lang="es-ES_tradnl" dirty="0" smtClean="0"/>
              <a:t> </a:t>
            </a:r>
            <a:r>
              <a:rPr lang="es-ES_tradnl" dirty="0" err="1" smtClean="0"/>
              <a:t>style</a:t>
            </a:r>
            <a:endParaRPr lang="es-ES_trad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ext</a:t>
            </a:r>
            <a:r>
              <a:rPr lang="es-ES_tradnl" dirty="0" smtClean="0"/>
              <a:t> </a:t>
            </a:r>
            <a:r>
              <a:rPr lang="es-ES_tradnl" dirty="0" err="1" smtClean="0"/>
              <a:t>styles</a:t>
            </a:r>
            <a:endParaRPr lang="es-ES_tradnl" dirty="0" smtClean="0"/>
          </a:p>
          <a:p>
            <a:pPr lvl="1"/>
            <a:r>
              <a:rPr lang="es-ES_tradnl" dirty="0" err="1" smtClean="0"/>
              <a:t>Second</a:t>
            </a:r>
            <a:r>
              <a:rPr lang="es-ES_tradnl" dirty="0" smtClean="0"/>
              <a:t> </a:t>
            </a:r>
            <a:r>
              <a:rPr lang="es-ES_tradnl" dirty="0" err="1" smtClean="0"/>
              <a:t>level</a:t>
            </a:r>
            <a:endParaRPr lang="es-ES_tradnl" dirty="0" smtClean="0"/>
          </a:p>
          <a:p>
            <a:pPr lvl="2"/>
            <a:r>
              <a:rPr lang="es-ES_tradnl" dirty="0" err="1" smtClean="0"/>
              <a:t>Third</a:t>
            </a:r>
            <a:r>
              <a:rPr lang="es-ES_tradnl" dirty="0" smtClean="0"/>
              <a:t> </a:t>
            </a:r>
            <a:r>
              <a:rPr lang="es-ES_tradnl" dirty="0" err="1" smtClean="0"/>
              <a:t>level</a:t>
            </a:r>
            <a:endParaRPr lang="es-ES_tradnl" dirty="0" smtClean="0"/>
          </a:p>
          <a:p>
            <a:pPr lvl="3"/>
            <a:r>
              <a:rPr lang="es-ES_tradnl" dirty="0" err="1" smtClean="0"/>
              <a:t>Fourth</a:t>
            </a:r>
            <a:r>
              <a:rPr lang="es-ES_tradnl" dirty="0" smtClean="0"/>
              <a:t> </a:t>
            </a:r>
            <a:r>
              <a:rPr lang="es-ES_tradnl" dirty="0" err="1" smtClean="0"/>
              <a:t>level</a:t>
            </a:r>
            <a:endParaRPr lang="es-ES_tradnl" dirty="0" smtClean="0"/>
          </a:p>
          <a:p>
            <a:pPr lvl="4"/>
            <a:r>
              <a:rPr lang="es-ES_tradnl" dirty="0" err="1" smtClean="0"/>
              <a:t>Fifth</a:t>
            </a:r>
            <a:r>
              <a:rPr lang="es-ES_tradnl" dirty="0" smtClean="0"/>
              <a:t> </a:t>
            </a:r>
            <a:r>
              <a:rPr lang="es-ES_tradnl" dirty="0" err="1" smtClean="0"/>
              <a:t>level</a:t>
            </a:r>
            <a:endParaRPr lang="es-ES_trad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11947769" y="6616721"/>
            <a:ext cx="177801" cy="1444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9466D-3351-4C13-8532-F8AD5A16EA50}" type="slidenum">
              <a:rPr kumimoji="0" lang="es-ES_tradnl" sz="1000" b="0" i="0" u="none" strike="noStrike" kern="1200" cap="none" spc="0" normalizeH="0" baseline="0" noProof="0" smtClean="0">
                <a:ln>
                  <a:noFill/>
                </a:ln>
                <a:solidFill>
                  <a:srgbClr val="0C2D8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_tradnl" sz="1000" b="0" i="0" u="none" strike="noStrike" kern="1200" cap="none" spc="0" normalizeH="0" baseline="0" noProof="0" dirty="0">
              <a:ln>
                <a:noFill/>
              </a:ln>
              <a:solidFill>
                <a:srgbClr val="0C2D8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51757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7171" y="785192"/>
            <a:ext cx="11404213" cy="370275"/>
          </a:xfrm>
        </p:spPr>
        <p:txBody>
          <a:bodyPr>
            <a:spAutoFit/>
          </a:bodyPr>
          <a:lstStyle>
            <a:lvl1pPr marL="0" indent="0">
              <a:buNone/>
              <a:defRPr sz="2406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ext</a:t>
            </a:r>
            <a:r>
              <a:rPr lang="es-ES_tradnl" dirty="0" smtClean="0"/>
              <a:t> </a:t>
            </a:r>
            <a:r>
              <a:rPr lang="es-ES_tradnl" dirty="0" err="1" smtClean="0"/>
              <a:t>styles</a:t>
            </a:r>
            <a:endParaRPr lang="es-ES_tradnl" dirty="0" smtClean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77171" y="399480"/>
            <a:ext cx="11404213" cy="333233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sz="2406"/>
            </a:lvl1pPr>
          </a:lstStyle>
          <a:p>
            <a:r>
              <a:rPr lang="es-ES_tradnl" dirty="0" err="1" smtClean="0"/>
              <a:t>Click</a:t>
            </a:r>
            <a:r>
              <a:rPr lang="es-ES_tradnl" dirty="0" smtClean="0"/>
              <a:t> to </a:t>
            </a:r>
            <a:r>
              <a:rPr lang="es-ES_tradnl" dirty="0" err="1" smtClean="0"/>
              <a:t>edit</a:t>
            </a:r>
            <a:r>
              <a:rPr lang="es-ES_tradnl" dirty="0" smtClean="0"/>
              <a:t> Master </a:t>
            </a:r>
            <a:r>
              <a:rPr lang="es-ES_tradnl" dirty="0" err="1" smtClean="0"/>
              <a:t>title</a:t>
            </a:r>
            <a:r>
              <a:rPr lang="es-ES_tradnl" dirty="0" smtClean="0"/>
              <a:t> </a:t>
            </a:r>
            <a:r>
              <a:rPr lang="es-ES_tradnl" dirty="0" err="1" smtClean="0"/>
              <a:t>style</a:t>
            </a:r>
            <a:endParaRPr lang="es-ES_tradnl" dirty="0"/>
          </a:p>
        </p:txBody>
      </p:sp>
      <p:sp>
        <p:nvSpPr>
          <p:cNvPr id="10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377860" y="1712511"/>
            <a:ext cx="11414689" cy="4547579"/>
          </a:xfrm>
        </p:spPr>
        <p:txBody>
          <a:bodyPr/>
          <a:lstStyle>
            <a:lvl1pPr marL="0" marR="0" indent="0" algn="l" defTabSz="916686" rtl="0" eaLnBrk="1" fontAlgn="auto" latinLnBrk="0" hangingPunct="1">
              <a:lnSpc>
                <a:spcPct val="100000"/>
              </a:lnSpc>
              <a:spcBef>
                <a:spcPts val="1203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  <a:lvl2pPr marL="267367" marR="0" indent="-267367" algn="l" defTabSz="916686" rtl="0" eaLnBrk="1" fontAlgn="auto" latinLnBrk="0" hangingPunct="1">
              <a:lnSpc>
                <a:spcPct val="100000"/>
              </a:lnSpc>
              <a:spcBef>
                <a:spcPts val="602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lvl2pPr>
            <a:lvl3pPr marL="542691" marR="0" indent="-267367" algn="l" defTabSz="9166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lvl3pPr>
            <a:lvl4pPr marL="805283" marR="0" indent="-273733" algn="l" defTabSz="9166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−"/>
              <a:tabLst/>
              <a:defRPr/>
            </a:lvl4pPr>
            <a:lvl5pPr marL="1085382" marR="0" indent="-267367" algn="l" defTabSz="9166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−"/>
              <a:tabLst/>
              <a:defRPr/>
            </a:lvl5pPr>
          </a:lstStyle>
          <a:p>
            <a:pPr marL="0" marR="0" lvl="0" indent="0" algn="l" defTabSz="916686" rtl="0" eaLnBrk="1" fontAlgn="auto" latinLnBrk="0" hangingPunct="1">
              <a:lnSpc>
                <a:spcPct val="100000"/>
              </a:lnSpc>
              <a:spcBef>
                <a:spcPts val="1203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s-ES_tradnl" sz="1805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lick</a:t>
            </a:r>
            <a:r>
              <a:rPr kumimoji="0" lang="es-ES_tradnl" sz="1805" b="0" i="0" u="none" strike="noStrike" kern="120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to </a:t>
            </a:r>
            <a:r>
              <a:rPr kumimoji="0" lang="es-ES_tradnl" sz="1805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edit</a:t>
            </a:r>
            <a:r>
              <a:rPr kumimoji="0" lang="es-ES_tradnl" sz="1805" b="0" i="0" u="none" strike="noStrike" kern="120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Master </a:t>
            </a:r>
            <a:r>
              <a:rPr kumimoji="0" lang="es-ES_tradnl" sz="1805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ext</a:t>
            </a:r>
            <a:r>
              <a:rPr kumimoji="0" lang="es-ES_tradnl" sz="1805" b="0" i="0" u="none" strike="noStrike" kern="120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s-ES_tradnl" sz="1805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yles</a:t>
            </a:r>
            <a:endParaRPr kumimoji="0" lang="es-ES_tradnl" sz="1805" b="0" i="0" u="none" strike="noStrike" kern="1200" cap="none" spc="0" normalizeH="0" baseline="0" noProof="0" dirty="0" smtClean="0">
              <a:ln>
                <a:noFill/>
              </a:ln>
              <a:solidFill>
                <a:srgbClr val="31313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1" indent="0" algn="l" defTabSz="916686" rtl="0" eaLnBrk="1" fontAlgn="auto" latinLnBrk="0" hangingPunct="1">
              <a:lnSpc>
                <a:spcPct val="100000"/>
              </a:lnSpc>
              <a:spcBef>
                <a:spcPts val="1203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s-ES_tradnl" sz="1805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</a:t>
            </a:r>
            <a:r>
              <a:rPr kumimoji="0" lang="es-ES_tradnl" sz="1805" b="0" i="0" u="none" strike="noStrike" kern="120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s-ES_tradnl" sz="1805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vel</a:t>
            </a:r>
            <a:endParaRPr kumimoji="0" lang="es-ES_tradnl" sz="1805" b="0" i="0" u="none" strike="noStrike" kern="1200" cap="none" spc="0" normalizeH="0" baseline="0" noProof="0" dirty="0" smtClean="0">
              <a:ln>
                <a:noFill/>
              </a:ln>
              <a:solidFill>
                <a:srgbClr val="31313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2" indent="0" algn="l" defTabSz="916686" rtl="0" eaLnBrk="1" fontAlgn="auto" latinLnBrk="0" hangingPunct="1">
              <a:lnSpc>
                <a:spcPct val="100000"/>
              </a:lnSpc>
              <a:spcBef>
                <a:spcPts val="1203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s-ES_tradnl" sz="1805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</a:t>
            </a:r>
            <a:r>
              <a:rPr kumimoji="0" lang="es-ES_tradnl" sz="1805" b="0" i="0" u="none" strike="noStrike" kern="120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s-ES_tradnl" sz="1805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vel</a:t>
            </a:r>
            <a:endParaRPr kumimoji="0" lang="es-ES_tradnl" sz="1805" b="0" i="0" u="none" strike="noStrike" kern="1200" cap="none" spc="0" normalizeH="0" baseline="0" noProof="0" dirty="0" smtClean="0">
              <a:ln>
                <a:noFill/>
              </a:ln>
              <a:solidFill>
                <a:srgbClr val="31313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3" indent="0" algn="l" defTabSz="916686" rtl="0" eaLnBrk="1" fontAlgn="auto" latinLnBrk="0" hangingPunct="1">
              <a:lnSpc>
                <a:spcPct val="100000"/>
              </a:lnSpc>
              <a:spcBef>
                <a:spcPts val="1203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s-ES_tradnl" sz="1805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</a:t>
            </a:r>
            <a:r>
              <a:rPr kumimoji="0" lang="es-ES_tradnl" sz="1805" b="0" i="0" u="none" strike="noStrike" kern="120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s-ES_tradnl" sz="1805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vel</a:t>
            </a:r>
            <a:endParaRPr kumimoji="0" lang="es-ES_tradnl" sz="1805" b="0" i="0" u="none" strike="noStrike" kern="1200" cap="none" spc="0" normalizeH="0" baseline="0" noProof="0" dirty="0" smtClean="0">
              <a:ln>
                <a:noFill/>
              </a:ln>
              <a:solidFill>
                <a:srgbClr val="31313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4" indent="0" algn="l" defTabSz="916686" rtl="0" eaLnBrk="1" fontAlgn="auto" latinLnBrk="0" hangingPunct="1">
              <a:lnSpc>
                <a:spcPct val="100000"/>
              </a:lnSpc>
              <a:spcBef>
                <a:spcPts val="1203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s-ES_tradnl" sz="1805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</a:t>
            </a:r>
            <a:r>
              <a:rPr kumimoji="0" lang="es-ES_tradnl" sz="1805" b="0" i="0" u="none" strike="noStrike" kern="1200" cap="none" spc="0" normalizeH="0" baseline="0" noProof="0" dirty="0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s-ES_tradnl" sz="1805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1313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evel</a:t>
            </a:r>
            <a:endParaRPr kumimoji="0" lang="es-ES_tradnl" sz="1805" b="0" i="0" u="none" strike="noStrike" kern="1200" cap="none" spc="0" normalizeH="0" baseline="0" noProof="0" dirty="0">
              <a:ln>
                <a:noFill/>
              </a:ln>
              <a:solidFill>
                <a:srgbClr val="31313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10998497" y="6424193"/>
            <a:ext cx="794052" cy="16961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2" b="0">
                <a:solidFill>
                  <a:srgbClr val="8C8C8C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CC1D26-A9BD-4BDE-BDD9-08EDBAE96860}" type="slidenum">
              <a:rPr kumimoji="0" lang="es-ES_tradnl" sz="802" b="0" i="0" u="none" strike="noStrike" kern="1200" cap="none" spc="0" normalizeH="0" baseline="0" noProof="0" smtClean="0">
                <a:ln>
                  <a:noFill/>
                </a:ln>
                <a:solidFill>
                  <a:srgbClr val="8C8C8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_tradnl" sz="802" b="0" i="0" u="none" strike="noStrike" kern="1200" cap="none" spc="0" normalizeH="0" baseline="0" noProof="0" dirty="0">
              <a:ln>
                <a:noFill/>
              </a:ln>
              <a:solidFill>
                <a:srgbClr val="8C8C8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34432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ggetto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7" name="Oggetto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670120"/>
            <a:ext cx="7616826" cy="415245"/>
          </a:xfrm>
        </p:spPr>
        <p:txBody>
          <a:bodyPr/>
          <a:lstStyle>
            <a:lvl1pPr>
              <a:defRPr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E7F8EF-AB7E-8B46-999D-090F56F9ACE9}" type="datetime1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C6C6C6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/06/2018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C6C6C6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C6C6C6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sentation footer 10PT. Please add the relevant country to the footer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D2235E-0982-3B42-A838-A74550CD4449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C6C6C6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C6C6C6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7616827" cy="286234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/>
              <a:t>Click to edit Master subtitle style if required</a:t>
            </a:r>
            <a:endParaRPr lang="en-US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761999" y="5889377"/>
            <a:ext cx="10664825" cy="276473"/>
          </a:xfrm>
        </p:spPr>
        <p:txBody>
          <a:bodyPr rIns="0" anchor="b">
            <a:noAutofit/>
          </a:bodyPr>
          <a:lstStyle>
            <a:lvl1pPr>
              <a:defRPr sz="1800" b="1" baseline="0"/>
            </a:lvl1pPr>
          </a:lstStyle>
          <a:p>
            <a:pPr lvl="0"/>
            <a:r>
              <a:rPr lang="en-GB"/>
              <a:t>Optional summary text placeholde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23012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1" y="670121"/>
            <a:ext cx="8375651" cy="394980"/>
          </a:xfrm>
          <a:prstGeom prst="rect">
            <a:avLst/>
          </a:prstGeom>
        </p:spPr>
        <p:txBody>
          <a:bodyPr/>
          <a:lstStyle>
            <a:lvl1pPr>
              <a:defRPr sz="2000"/>
            </a:lvl1pPr>
          </a:lstStyle>
          <a:p>
            <a:r>
              <a:rPr lang="es-ES" dirty="0"/>
              <a:t>Haga clic para modificar el estilo de título del patrón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1" y="1085372"/>
            <a:ext cx="8375651" cy="276999"/>
          </a:xfrm>
        </p:spPr>
        <p:txBody>
          <a:bodyPr rIns="0">
            <a:noAutofit/>
          </a:bodyPr>
          <a:lstStyle>
            <a:lvl1pPr>
              <a:defRPr sz="16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18315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efault 0">
    <p:bg>
      <p:bgPr>
        <a:solidFill>
          <a:srgbClr val="000A4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Número de diapositiva"/>
          <p:cNvSpPr txBox="1">
            <a:spLocks noGrp="1"/>
          </p:cNvSpPr>
          <p:nvPr>
            <p:ph type="sldNum" sz="quarter" idx="2"/>
          </p:nvPr>
        </p:nvSpPr>
        <p:spPr>
          <a:xfrm>
            <a:off x="5892800" y="6170083"/>
            <a:ext cx="2844800" cy="372535"/>
          </a:xfrm>
          <a:prstGeom prst="rect">
            <a:avLst/>
          </a:prstGeom>
        </p:spPr>
        <p:txBody>
          <a:bodyPr lIns="45719" tIns="45719" rIns="45719" bIns="45719" anchor="ctr"/>
          <a:lstStyle>
            <a:lvl1pPr defTabSz="1219170">
              <a:defRPr sz="1600">
                <a:solidFill>
                  <a:srgbClr val="1C1C1C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26358709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ítulo y subtítulo copia 1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12"/>
          <p:cNvSpPr>
            <a:spLocks noGrp="1"/>
          </p:cNvSpPr>
          <p:nvPr>
            <p:ph type="sldNum" sz="quarter" idx="2"/>
          </p:nvPr>
        </p:nvSpPr>
        <p:spPr>
          <a:xfrm>
            <a:off x="5923977" y="6540500"/>
            <a:ext cx="337698" cy="253059"/>
          </a:xfrm>
          <a:prstGeom prst="rect">
            <a:avLst/>
          </a:prstGeom>
        </p:spPr>
        <p:txBody>
          <a:bodyPr lIns="33866" tIns="33866" rIns="33866" bIns="33866" anchor="t"/>
          <a:lstStyle>
            <a:lvl1pPr algn="ctr" defTabSz="412750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hangingPunct="0"/>
            <a:fld id="{86CB4B4D-7CA3-9044-876B-883B54F8677D}" type="slidenum">
              <a:rPr lang="es-ES" kern="0" smtClean="0"/>
              <a:pPr hangingPunct="0"/>
              <a:t>‹Nº›</a:t>
            </a:fld>
            <a:endParaRPr lang="es-ES" kern="0"/>
          </a:p>
        </p:txBody>
      </p:sp>
      <p:pic>
        <p:nvPicPr>
          <p:cNvPr id="4" name="Endesa_Logo_Primary_RGB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5900" y="6417900"/>
            <a:ext cx="1013542" cy="213300"/>
          </a:xfrm>
          <a:prstGeom prst="rect">
            <a:avLst/>
          </a:prstGeom>
          <a:ln w="3175">
            <a:miter lim="400000"/>
          </a:ln>
        </p:spPr>
      </p:pic>
    </p:spTree>
    <p:extLst>
      <p:ext uri="{BB962C8B-B14F-4D97-AF65-F5344CB8AC3E}">
        <p14:creationId xmlns:p14="http://schemas.microsoft.com/office/powerpoint/2010/main" val="211764926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ítulo y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hape 19"/>
          <p:cNvSpPr>
            <a:spLocks noGrp="1"/>
          </p:cNvSpPr>
          <p:nvPr>
            <p:ph type="sldNum" sz="quarter" idx="2"/>
          </p:nvPr>
        </p:nvSpPr>
        <p:spPr>
          <a:xfrm>
            <a:off x="5908793" y="6505277"/>
            <a:ext cx="365485" cy="280846"/>
          </a:xfrm>
          <a:prstGeom prst="rect">
            <a:avLst/>
          </a:prstGeom>
        </p:spPr>
        <p:txBody>
          <a:bodyPr lIns="47625" tIns="47625" rIns="47625" bIns="47625" anchor="t"/>
          <a:lstStyle>
            <a:lvl1pPr algn="ctr" defTabSz="410765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hangingPunct="0"/>
            <a:fld id="{86CB4B4D-7CA3-9044-876B-883B54F8677D}" type="slidenum">
              <a:rPr lang="es-ES" kern="0" smtClean="0"/>
              <a:pPr hangingPunct="0"/>
              <a:t>‹Nº›</a:t>
            </a:fld>
            <a:endParaRPr lang="es-ES" kern="0"/>
          </a:p>
        </p:txBody>
      </p:sp>
    </p:spTree>
    <p:extLst>
      <p:ext uri="{BB962C8B-B14F-4D97-AF65-F5344CB8AC3E}">
        <p14:creationId xmlns:p14="http://schemas.microsoft.com/office/powerpoint/2010/main" val="39453398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ítulo y viñet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Shape 26"/>
          <p:cNvSpPr>
            <a:spLocks noGrp="1"/>
          </p:cNvSpPr>
          <p:nvPr>
            <p:ph type="sldNum" sz="quarter" idx="2"/>
          </p:nvPr>
        </p:nvSpPr>
        <p:spPr>
          <a:xfrm>
            <a:off x="5908793" y="6505277"/>
            <a:ext cx="365485" cy="280846"/>
          </a:xfrm>
          <a:prstGeom prst="rect">
            <a:avLst/>
          </a:prstGeom>
        </p:spPr>
        <p:txBody>
          <a:bodyPr lIns="47625" tIns="47625" rIns="47625" bIns="47625" anchor="t"/>
          <a:lstStyle>
            <a:lvl1pPr algn="ctr" defTabSz="410765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hangingPunct="0"/>
            <a:fld id="{86CB4B4D-7CA3-9044-876B-883B54F8677D}" type="slidenum">
              <a:rPr lang="es-ES" kern="0" smtClean="0"/>
              <a:pPr hangingPunct="0"/>
              <a:t>‹Nº›</a:t>
            </a:fld>
            <a:endParaRPr lang="es-ES" kern="0"/>
          </a:p>
        </p:txBody>
      </p:sp>
    </p:spTree>
    <p:extLst>
      <p:ext uri="{BB962C8B-B14F-4D97-AF65-F5344CB8AC3E}">
        <p14:creationId xmlns:p14="http://schemas.microsoft.com/office/powerpoint/2010/main" val="308899356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ítulo y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Shape 40"/>
          <p:cNvSpPr>
            <a:spLocks noGrp="1"/>
          </p:cNvSpPr>
          <p:nvPr>
            <p:ph type="sldNum" sz="quarter" idx="2"/>
          </p:nvPr>
        </p:nvSpPr>
        <p:spPr>
          <a:xfrm>
            <a:off x="8443291" y="6240935"/>
            <a:ext cx="294310" cy="230830"/>
          </a:xfrm>
          <a:prstGeom prst="rect">
            <a:avLst/>
          </a:prstGeom>
        </p:spPr>
        <p:txBody>
          <a:bodyPr lIns="45719" tIns="45719" rIns="45719" bIns="45719"/>
          <a:lstStyle>
            <a:lvl1pPr defTabSz="438150">
              <a:defRPr sz="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hangingPunct="0"/>
            <a:fld id="{86CB4B4D-7CA3-9044-876B-883B54F8677D}" type="slidenum">
              <a:rPr lang="es-ES" kern="0" smtClean="0"/>
              <a:pPr hangingPunct="0"/>
              <a:t>‹Nº›</a:t>
            </a:fld>
            <a:endParaRPr lang="es-ES" kern="0"/>
          </a:p>
        </p:txBody>
      </p:sp>
    </p:spTree>
    <p:extLst>
      <p:ext uri="{BB962C8B-B14F-4D97-AF65-F5344CB8AC3E}">
        <p14:creationId xmlns:p14="http://schemas.microsoft.com/office/powerpoint/2010/main" val="305440510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hape 47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o del título</a:t>
            </a:r>
          </a:p>
        </p:txBody>
      </p:sp>
      <p:sp>
        <p:nvSpPr>
          <p:cNvPr id="48" name="Shape 48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49" name="Shape 49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hangingPunct="0"/>
            <a:fld id="{86CB4B4D-7CA3-9044-876B-883B54F8677D}" type="slidenum">
              <a:rPr lang="es-ES" kern="0" smtClean="0"/>
              <a:pPr hangingPunct="0"/>
              <a:t>‹Nº›</a:t>
            </a:fld>
            <a:endParaRPr lang="es-ES" kern="0"/>
          </a:p>
        </p:txBody>
      </p:sp>
    </p:spTree>
    <p:extLst>
      <p:ext uri="{BB962C8B-B14F-4D97-AF65-F5344CB8AC3E}">
        <p14:creationId xmlns:p14="http://schemas.microsoft.com/office/powerpoint/2010/main" val="370523606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42F4B4-7CA8-4B74-99F8-F65036D97C53}" type="datetime1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C6C6C6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/06/2018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C6C6C6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6C6C6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sentation footer 10PT. Please add the relevant country to the footer.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C6C6C6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D2235E-0982-3B42-A838-A74550CD4449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C6C6C6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C6C6C6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24975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ítulo y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image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9539" y="132721"/>
            <a:ext cx="1153778" cy="1015246"/>
          </a:xfrm>
          <a:prstGeom prst="rect">
            <a:avLst/>
          </a:prstGeom>
          <a:ln w="3175">
            <a:miter lim="400000"/>
          </a:ln>
        </p:spPr>
      </p:pic>
      <p:sp>
        <p:nvSpPr>
          <p:cNvPr id="57" name="Shape 57"/>
          <p:cNvSpPr>
            <a:spLocks noGrp="1"/>
          </p:cNvSpPr>
          <p:nvPr>
            <p:ph type="sldNum" sz="quarter" idx="2"/>
          </p:nvPr>
        </p:nvSpPr>
        <p:spPr>
          <a:xfrm>
            <a:off x="8443291" y="6240935"/>
            <a:ext cx="294310" cy="230830"/>
          </a:xfrm>
          <a:prstGeom prst="rect">
            <a:avLst/>
          </a:prstGeom>
        </p:spPr>
        <p:txBody>
          <a:bodyPr lIns="45719" tIns="45719" rIns="45719" bIns="45719"/>
          <a:lstStyle>
            <a:lvl1pPr defTabSz="438150">
              <a:defRPr sz="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hangingPunct="0"/>
            <a:fld id="{86CB4B4D-7CA3-9044-876B-883B54F8677D}" type="slidenum">
              <a:rPr lang="es-ES" kern="0" smtClean="0"/>
              <a:pPr hangingPunct="0"/>
              <a:t>‹Nº›</a:t>
            </a:fld>
            <a:endParaRPr lang="es-ES" kern="0"/>
          </a:p>
        </p:txBody>
      </p:sp>
    </p:spTree>
    <p:extLst>
      <p:ext uri="{BB962C8B-B14F-4D97-AF65-F5344CB8AC3E}">
        <p14:creationId xmlns:p14="http://schemas.microsoft.com/office/powerpoint/2010/main" val="103406064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log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5" name="Group 85"/>
          <p:cNvGrpSpPr/>
          <p:nvPr/>
        </p:nvGrpSpPr>
        <p:grpSpPr>
          <a:xfrm>
            <a:off x="10604259" y="6258080"/>
            <a:ext cx="1178975" cy="247496"/>
            <a:chOff x="0" y="0"/>
            <a:chExt cx="1571966" cy="329993"/>
          </a:xfrm>
        </p:grpSpPr>
        <p:sp>
          <p:nvSpPr>
            <p:cNvPr id="79" name="Shape 79"/>
            <p:cNvSpPr/>
            <p:nvPr/>
          </p:nvSpPr>
          <p:spPr>
            <a:xfrm>
              <a:off x="0" y="81553"/>
              <a:ext cx="245995" cy="2484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8908"/>
                  </a:moveTo>
                  <a:cubicBezTo>
                    <a:pt x="20722" y="3843"/>
                    <a:pt x="16273" y="0"/>
                    <a:pt x="10888" y="0"/>
                  </a:cubicBezTo>
                  <a:cubicBezTo>
                    <a:pt x="4917" y="0"/>
                    <a:pt x="0" y="4832"/>
                    <a:pt x="0" y="10771"/>
                  </a:cubicBezTo>
                  <a:cubicBezTo>
                    <a:pt x="0" y="16768"/>
                    <a:pt x="4917" y="21600"/>
                    <a:pt x="10888" y="21600"/>
                  </a:cubicBezTo>
                  <a:cubicBezTo>
                    <a:pt x="14400" y="21600"/>
                    <a:pt x="17502" y="19970"/>
                    <a:pt x="19493" y="17350"/>
                  </a:cubicBezTo>
                  <a:cubicBezTo>
                    <a:pt x="16917" y="15429"/>
                    <a:pt x="16917" y="15429"/>
                    <a:pt x="16917" y="15429"/>
                  </a:cubicBezTo>
                  <a:cubicBezTo>
                    <a:pt x="15571" y="17233"/>
                    <a:pt x="13346" y="18398"/>
                    <a:pt x="10888" y="18398"/>
                  </a:cubicBezTo>
                  <a:cubicBezTo>
                    <a:pt x="6673" y="18398"/>
                    <a:pt x="3278" y="14963"/>
                    <a:pt x="3278" y="10771"/>
                  </a:cubicBezTo>
                  <a:cubicBezTo>
                    <a:pt x="3278" y="6637"/>
                    <a:pt x="6673" y="3202"/>
                    <a:pt x="10888" y="3202"/>
                  </a:cubicBezTo>
                  <a:cubicBezTo>
                    <a:pt x="14459" y="3202"/>
                    <a:pt x="17502" y="5647"/>
                    <a:pt x="18322" y="8908"/>
                  </a:cubicBezTo>
                  <a:cubicBezTo>
                    <a:pt x="10244" y="8908"/>
                    <a:pt x="10244" y="8908"/>
                    <a:pt x="10244" y="8908"/>
                  </a:cubicBezTo>
                  <a:cubicBezTo>
                    <a:pt x="10244" y="12168"/>
                    <a:pt x="10244" y="12168"/>
                    <a:pt x="10244" y="12168"/>
                  </a:cubicBezTo>
                  <a:cubicBezTo>
                    <a:pt x="21600" y="12168"/>
                    <a:pt x="21600" y="12168"/>
                    <a:pt x="21600" y="12168"/>
                  </a:cubicBezTo>
                  <a:lnTo>
                    <a:pt x="21600" y="8908"/>
                  </a:lnTo>
                  <a:close/>
                </a:path>
              </a:pathLst>
            </a:custGeom>
            <a:solidFill>
              <a:srgbClr val="FFFFFF"/>
            </a:solidFill>
            <a:ln w="3175" cap="flat">
              <a:noFill/>
              <a:miter lim="400000"/>
            </a:ln>
            <a:effectLst/>
          </p:spPr>
          <p:txBody>
            <a:bodyPr wrap="square" lIns="48000" tIns="48000" rIns="48000" bIns="48000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latin typeface="Arial"/>
                  <a:ea typeface="Arial"/>
                  <a:cs typeface="Arial"/>
                  <a:sym typeface="Arial"/>
                </a:defRPr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80" name="Shape 80"/>
            <p:cNvSpPr/>
            <p:nvPr/>
          </p:nvSpPr>
          <p:spPr>
            <a:xfrm>
              <a:off x="826426" y="81553"/>
              <a:ext cx="245996" cy="2484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8908"/>
                  </a:moveTo>
                  <a:cubicBezTo>
                    <a:pt x="20722" y="3843"/>
                    <a:pt x="16215" y="0"/>
                    <a:pt x="10888" y="0"/>
                  </a:cubicBezTo>
                  <a:cubicBezTo>
                    <a:pt x="4859" y="0"/>
                    <a:pt x="0" y="4832"/>
                    <a:pt x="0" y="10771"/>
                  </a:cubicBezTo>
                  <a:cubicBezTo>
                    <a:pt x="0" y="16768"/>
                    <a:pt x="4859" y="21600"/>
                    <a:pt x="10888" y="21600"/>
                  </a:cubicBezTo>
                  <a:cubicBezTo>
                    <a:pt x="14400" y="21600"/>
                    <a:pt x="17502" y="19970"/>
                    <a:pt x="19493" y="17350"/>
                  </a:cubicBezTo>
                  <a:cubicBezTo>
                    <a:pt x="16917" y="15429"/>
                    <a:pt x="16917" y="15429"/>
                    <a:pt x="16917" y="15429"/>
                  </a:cubicBezTo>
                  <a:cubicBezTo>
                    <a:pt x="15512" y="17233"/>
                    <a:pt x="13346" y="18398"/>
                    <a:pt x="10888" y="18398"/>
                  </a:cubicBezTo>
                  <a:cubicBezTo>
                    <a:pt x="6673" y="18398"/>
                    <a:pt x="3220" y="14963"/>
                    <a:pt x="3220" y="10771"/>
                  </a:cubicBezTo>
                  <a:cubicBezTo>
                    <a:pt x="3220" y="6637"/>
                    <a:pt x="6673" y="3202"/>
                    <a:pt x="10888" y="3202"/>
                  </a:cubicBezTo>
                  <a:cubicBezTo>
                    <a:pt x="14400" y="3202"/>
                    <a:pt x="17444" y="5647"/>
                    <a:pt x="18263" y="8908"/>
                  </a:cubicBezTo>
                  <a:cubicBezTo>
                    <a:pt x="10244" y="8908"/>
                    <a:pt x="10244" y="8908"/>
                    <a:pt x="10244" y="8908"/>
                  </a:cubicBezTo>
                  <a:cubicBezTo>
                    <a:pt x="10244" y="12168"/>
                    <a:pt x="10244" y="12168"/>
                    <a:pt x="10244" y="12168"/>
                  </a:cubicBezTo>
                  <a:cubicBezTo>
                    <a:pt x="21600" y="12168"/>
                    <a:pt x="21600" y="12168"/>
                    <a:pt x="21600" y="12168"/>
                  </a:cubicBezTo>
                  <a:lnTo>
                    <a:pt x="21600" y="8908"/>
                  </a:lnTo>
                  <a:close/>
                </a:path>
              </a:pathLst>
            </a:custGeom>
            <a:solidFill>
              <a:srgbClr val="FFFFFF"/>
            </a:solidFill>
            <a:ln w="3175" cap="flat">
              <a:noFill/>
              <a:miter lim="400000"/>
            </a:ln>
            <a:effectLst/>
          </p:spPr>
          <p:txBody>
            <a:bodyPr wrap="square" lIns="48000" tIns="48000" rIns="48000" bIns="48000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latin typeface="Arial"/>
                  <a:ea typeface="Arial"/>
                  <a:cs typeface="Arial"/>
                  <a:sym typeface="Arial"/>
                </a:defRPr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81" name="Shape 81"/>
            <p:cNvSpPr/>
            <p:nvPr/>
          </p:nvSpPr>
          <p:spPr>
            <a:xfrm>
              <a:off x="283549" y="81553"/>
              <a:ext cx="221996" cy="2444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9054"/>
                  </a:moveTo>
                  <a:cubicBezTo>
                    <a:pt x="21600" y="4024"/>
                    <a:pt x="17059" y="0"/>
                    <a:pt x="11611" y="0"/>
                  </a:cubicBezTo>
                  <a:cubicBezTo>
                    <a:pt x="8432" y="0"/>
                    <a:pt x="5643" y="1124"/>
                    <a:pt x="3568" y="2959"/>
                  </a:cubicBezTo>
                  <a:cubicBezTo>
                    <a:pt x="3568" y="888"/>
                    <a:pt x="3568" y="888"/>
                    <a:pt x="3568" y="888"/>
                  </a:cubicBezTo>
                  <a:cubicBezTo>
                    <a:pt x="0" y="888"/>
                    <a:pt x="0" y="888"/>
                    <a:pt x="0" y="888"/>
                  </a:cubicBezTo>
                  <a:cubicBezTo>
                    <a:pt x="0" y="12368"/>
                    <a:pt x="0" y="12368"/>
                    <a:pt x="0" y="12368"/>
                  </a:cubicBezTo>
                  <a:cubicBezTo>
                    <a:pt x="3568" y="12368"/>
                    <a:pt x="3568" y="12368"/>
                    <a:pt x="3568" y="12368"/>
                  </a:cubicBezTo>
                  <a:cubicBezTo>
                    <a:pt x="3568" y="9646"/>
                    <a:pt x="3568" y="9646"/>
                    <a:pt x="3568" y="9646"/>
                  </a:cubicBezTo>
                  <a:cubicBezTo>
                    <a:pt x="4151" y="6983"/>
                    <a:pt x="6681" y="3255"/>
                    <a:pt x="11611" y="3255"/>
                  </a:cubicBezTo>
                  <a:cubicBezTo>
                    <a:pt x="15114" y="3255"/>
                    <a:pt x="17968" y="5799"/>
                    <a:pt x="17968" y="9054"/>
                  </a:cubicBezTo>
                  <a:cubicBezTo>
                    <a:pt x="17968" y="21600"/>
                    <a:pt x="17968" y="21600"/>
                    <a:pt x="17968" y="21600"/>
                  </a:cubicBezTo>
                  <a:cubicBezTo>
                    <a:pt x="21600" y="21600"/>
                    <a:pt x="21600" y="21600"/>
                    <a:pt x="21600" y="21600"/>
                  </a:cubicBezTo>
                  <a:lnTo>
                    <a:pt x="21600" y="9054"/>
                  </a:lnTo>
                  <a:close/>
                </a:path>
              </a:pathLst>
            </a:custGeom>
            <a:solidFill>
              <a:srgbClr val="FFFFFF"/>
            </a:solidFill>
            <a:ln w="3175" cap="flat">
              <a:noFill/>
              <a:miter lim="400000"/>
            </a:ln>
            <a:effectLst/>
          </p:spPr>
          <p:txBody>
            <a:bodyPr wrap="square" lIns="48000" tIns="48000" rIns="48000" bIns="48000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latin typeface="Arial"/>
                  <a:ea typeface="Arial"/>
                  <a:cs typeface="Arial"/>
                  <a:sym typeface="Arial"/>
                </a:defRPr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82" name="Shape 82"/>
            <p:cNvSpPr/>
            <p:nvPr/>
          </p:nvSpPr>
          <p:spPr>
            <a:xfrm>
              <a:off x="1109087" y="81553"/>
              <a:ext cx="180664" cy="2484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376" y="14206"/>
                  </a:moveTo>
                  <a:cubicBezTo>
                    <a:pt x="17376" y="16535"/>
                    <a:pt x="14347" y="18398"/>
                    <a:pt x="10760" y="18398"/>
                  </a:cubicBezTo>
                  <a:cubicBezTo>
                    <a:pt x="5181" y="18398"/>
                    <a:pt x="4463" y="14497"/>
                    <a:pt x="4463" y="14497"/>
                  </a:cubicBezTo>
                  <a:cubicBezTo>
                    <a:pt x="80" y="15312"/>
                    <a:pt x="80" y="15312"/>
                    <a:pt x="80" y="15312"/>
                  </a:cubicBezTo>
                  <a:cubicBezTo>
                    <a:pt x="80" y="15312"/>
                    <a:pt x="1674" y="21600"/>
                    <a:pt x="10840" y="21600"/>
                  </a:cubicBezTo>
                  <a:cubicBezTo>
                    <a:pt x="17615" y="21600"/>
                    <a:pt x="21600" y="17583"/>
                    <a:pt x="21600" y="13740"/>
                  </a:cubicBezTo>
                  <a:cubicBezTo>
                    <a:pt x="21600" y="12867"/>
                    <a:pt x="21600" y="12576"/>
                    <a:pt x="21441" y="12110"/>
                  </a:cubicBezTo>
                  <a:cubicBezTo>
                    <a:pt x="21361" y="11819"/>
                    <a:pt x="21361" y="11819"/>
                    <a:pt x="21361" y="11819"/>
                  </a:cubicBezTo>
                  <a:cubicBezTo>
                    <a:pt x="4384" y="7278"/>
                    <a:pt x="4384" y="7278"/>
                    <a:pt x="4384" y="7278"/>
                  </a:cubicBezTo>
                  <a:cubicBezTo>
                    <a:pt x="4782" y="5356"/>
                    <a:pt x="7492" y="3202"/>
                    <a:pt x="10601" y="3202"/>
                  </a:cubicBezTo>
                  <a:cubicBezTo>
                    <a:pt x="16419" y="3202"/>
                    <a:pt x="16977" y="6928"/>
                    <a:pt x="16977" y="6928"/>
                  </a:cubicBezTo>
                  <a:cubicBezTo>
                    <a:pt x="21361" y="6171"/>
                    <a:pt x="21361" y="6171"/>
                    <a:pt x="21361" y="6171"/>
                  </a:cubicBezTo>
                  <a:cubicBezTo>
                    <a:pt x="21361" y="6171"/>
                    <a:pt x="19926" y="0"/>
                    <a:pt x="10521" y="0"/>
                  </a:cubicBezTo>
                  <a:cubicBezTo>
                    <a:pt x="4224" y="0"/>
                    <a:pt x="0" y="3901"/>
                    <a:pt x="0" y="7569"/>
                  </a:cubicBezTo>
                  <a:cubicBezTo>
                    <a:pt x="0" y="8442"/>
                    <a:pt x="159" y="9548"/>
                    <a:pt x="159" y="9548"/>
                  </a:cubicBezTo>
                  <a:lnTo>
                    <a:pt x="17376" y="14206"/>
                  </a:lnTo>
                  <a:close/>
                </a:path>
              </a:pathLst>
            </a:custGeom>
            <a:solidFill>
              <a:srgbClr val="FFFFFF"/>
            </a:solidFill>
            <a:ln w="3175" cap="flat">
              <a:noFill/>
              <a:miter lim="400000"/>
            </a:ln>
            <a:effectLst/>
          </p:spPr>
          <p:txBody>
            <a:bodyPr wrap="square" lIns="48000" tIns="48000" rIns="48000" bIns="48000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latin typeface="Arial"/>
                  <a:ea typeface="Arial"/>
                  <a:cs typeface="Arial"/>
                  <a:sym typeface="Arial"/>
                </a:defRPr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83" name="Shape 83"/>
            <p:cNvSpPr/>
            <p:nvPr/>
          </p:nvSpPr>
          <p:spPr>
            <a:xfrm>
              <a:off x="542210" y="-1"/>
              <a:ext cx="247329" cy="3299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340" y="0"/>
                  </a:moveTo>
                  <a:cubicBezTo>
                    <a:pt x="18340" y="7624"/>
                    <a:pt x="18340" y="7624"/>
                    <a:pt x="18340" y="7624"/>
                  </a:cubicBezTo>
                  <a:cubicBezTo>
                    <a:pt x="16418" y="6222"/>
                    <a:pt x="13740" y="5345"/>
                    <a:pt x="10829" y="5345"/>
                  </a:cubicBezTo>
                  <a:cubicBezTo>
                    <a:pt x="4832" y="5345"/>
                    <a:pt x="0" y="8982"/>
                    <a:pt x="0" y="13451"/>
                  </a:cubicBezTo>
                  <a:cubicBezTo>
                    <a:pt x="0" y="17963"/>
                    <a:pt x="4832" y="21600"/>
                    <a:pt x="10829" y="21600"/>
                  </a:cubicBezTo>
                  <a:cubicBezTo>
                    <a:pt x="13042" y="21600"/>
                    <a:pt x="15079" y="21118"/>
                    <a:pt x="16826" y="20242"/>
                  </a:cubicBezTo>
                  <a:cubicBezTo>
                    <a:pt x="15021" y="18226"/>
                    <a:pt x="15021" y="18226"/>
                    <a:pt x="15021" y="18226"/>
                  </a:cubicBezTo>
                  <a:cubicBezTo>
                    <a:pt x="13798" y="18840"/>
                    <a:pt x="12343" y="19190"/>
                    <a:pt x="10829" y="19190"/>
                  </a:cubicBezTo>
                  <a:cubicBezTo>
                    <a:pt x="6637" y="19190"/>
                    <a:pt x="3202" y="16605"/>
                    <a:pt x="3202" y="13451"/>
                  </a:cubicBezTo>
                  <a:cubicBezTo>
                    <a:pt x="3202" y="10340"/>
                    <a:pt x="6637" y="7755"/>
                    <a:pt x="10829" y="7755"/>
                  </a:cubicBezTo>
                  <a:cubicBezTo>
                    <a:pt x="14730" y="7755"/>
                    <a:pt x="17932" y="9989"/>
                    <a:pt x="18340" y="12881"/>
                  </a:cubicBezTo>
                  <a:cubicBezTo>
                    <a:pt x="18340" y="21337"/>
                    <a:pt x="18340" y="21337"/>
                    <a:pt x="18340" y="21337"/>
                  </a:cubicBezTo>
                  <a:cubicBezTo>
                    <a:pt x="21600" y="21337"/>
                    <a:pt x="21600" y="21337"/>
                    <a:pt x="21600" y="21337"/>
                  </a:cubicBezTo>
                  <a:cubicBezTo>
                    <a:pt x="21600" y="0"/>
                    <a:pt x="21600" y="0"/>
                    <a:pt x="21600" y="0"/>
                  </a:cubicBezTo>
                  <a:lnTo>
                    <a:pt x="18340" y="0"/>
                  </a:lnTo>
                  <a:close/>
                </a:path>
              </a:pathLst>
            </a:custGeom>
            <a:solidFill>
              <a:srgbClr val="FFFFFF"/>
            </a:solidFill>
            <a:ln w="3175" cap="flat">
              <a:noFill/>
              <a:miter lim="400000"/>
            </a:ln>
            <a:effectLst/>
          </p:spPr>
          <p:txBody>
            <a:bodyPr wrap="square" lIns="48000" tIns="48000" rIns="48000" bIns="48000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latin typeface="Arial"/>
                  <a:ea typeface="Arial"/>
                  <a:cs typeface="Arial"/>
                  <a:sym typeface="Arial"/>
                </a:defRPr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84" name="Shape 84"/>
            <p:cNvSpPr/>
            <p:nvPr/>
          </p:nvSpPr>
          <p:spPr>
            <a:xfrm>
              <a:off x="1325305" y="81553"/>
              <a:ext cx="246662" cy="2484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389" y="466"/>
                  </a:moveTo>
                  <a:cubicBezTo>
                    <a:pt x="18389" y="3027"/>
                    <a:pt x="18389" y="3027"/>
                    <a:pt x="18389" y="3027"/>
                  </a:cubicBezTo>
                  <a:cubicBezTo>
                    <a:pt x="16404" y="1164"/>
                    <a:pt x="13777" y="0"/>
                    <a:pt x="10800" y="0"/>
                  </a:cubicBezTo>
                  <a:cubicBezTo>
                    <a:pt x="4845" y="0"/>
                    <a:pt x="0" y="4832"/>
                    <a:pt x="0" y="10771"/>
                  </a:cubicBezTo>
                  <a:cubicBezTo>
                    <a:pt x="0" y="16768"/>
                    <a:pt x="4845" y="21600"/>
                    <a:pt x="10800" y="21600"/>
                  </a:cubicBezTo>
                  <a:cubicBezTo>
                    <a:pt x="13077" y="21600"/>
                    <a:pt x="15120" y="20960"/>
                    <a:pt x="16871" y="19795"/>
                  </a:cubicBezTo>
                  <a:cubicBezTo>
                    <a:pt x="15062" y="17117"/>
                    <a:pt x="15062" y="17117"/>
                    <a:pt x="15062" y="17117"/>
                  </a:cubicBezTo>
                  <a:cubicBezTo>
                    <a:pt x="13836" y="17932"/>
                    <a:pt x="12376" y="18398"/>
                    <a:pt x="10800" y="18398"/>
                  </a:cubicBezTo>
                  <a:cubicBezTo>
                    <a:pt x="6597" y="18398"/>
                    <a:pt x="3211" y="14963"/>
                    <a:pt x="3211" y="10771"/>
                  </a:cubicBezTo>
                  <a:cubicBezTo>
                    <a:pt x="3211" y="6637"/>
                    <a:pt x="6597" y="3202"/>
                    <a:pt x="10800" y="3202"/>
                  </a:cubicBezTo>
                  <a:cubicBezTo>
                    <a:pt x="14770" y="3202"/>
                    <a:pt x="17981" y="6171"/>
                    <a:pt x="18389" y="10014"/>
                  </a:cubicBezTo>
                  <a:cubicBezTo>
                    <a:pt x="18389" y="21251"/>
                    <a:pt x="18389" y="21251"/>
                    <a:pt x="18389" y="21251"/>
                  </a:cubicBezTo>
                  <a:cubicBezTo>
                    <a:pt x="21600" y="21251"/>
                    <a:pt x="21600" y="21251"/>
                    <a:pt x="21600" y="21251"/>
                  </a:cubicBezTo>
                  <a:cubicBezTo>
                    <a:pt x="21600" y="466"/>
                    <a:pt x="21600" y="466"/>
                    <a:pt x="21600" y="466"/>
                  </a:cubicBezTo>
                  <a:lnTo>
                    <a:pt x="18389" y="466"/>
                  </a:lnTo>
                  <a:close/>
                </a:path>
              </a:pathLst>
            </a:custGeom>
            <a:solidFill>
              <a:srgbClr val="FFFFFF"/>
            </a:solidFill>
            <a:ln w="3175" cap="flat">
              <a:noFill/>
              <a:miter lim="400000"/>
            </a:ln>
            <a:effectLst/>
          </p:spPr>
          <p:txBody>
            <a:bodyPr wrap="square" lIns="48000" tIns="48000" rIns="48000" bIns="48000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latin typeface="Arial"/>
                  <a:ea typeface="Arial"/>
                  <a:cs typeface="Arial"/>
                  <a:sym typeface="Arial"/>
                </a:defRPr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86" name="Shape 86"/>
          <p:cNvSpPr>
            <a:spLocks noGrp="1"/>
          </p:cNvSpPr>
          <p:nvPr>
            <p:ph type="sldNum" sz="quarter" idx="2"/>
          </p:nvPr>
        </p:nvSpPr>
        <p:spPr>
          <a:xfrm>
            <a:off x="5923977" y="6540500"/>
            <a:ext cx="337698" cy="253059"/>
          </a:xfrm>
          <a:prstGeom prst="rect">
            <a:avLst/>
          </a:prstGeom>
        </p:spPr>
        <p:txBody>
          <a:bodyPr lIns="33866" tIns="33866" rIns="33866" bIns="33866" anchor="t"/>
          <a:lstStyle>
            <a:lvl1pPr algn="ctr" defTabSz="412750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hangingPunct="0"/>
            <a:fld id="{86CB4B4D-7CA3-9044-876B-883B54F8677D}" type="slidenum">
              <a:rPr lang="es-ES" kern="0" smtClean="0"/>
              <a:pPr hangingPunct="0"/>
              <a:t>‹Nº›</a:t>
            </a:fld>
            <a:endParaRPr lang="es-ES" kern="0"/>
          </a:p>
        </p:txBody>
      </p:sp>
    </p:spTree>
    <p:extLst>
      <p:ext uri="{BB962C8B-B14F-4D97-AF65-F5344CB8AC3E}">
        <p14:creationId xmlns:p14="http://schemas.microsoft.com/office/powerpoint/2010/main" val="2784208709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ítulo y subtítulo copia 1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Shape 93"/>
          <p:cNvSpPr>
            <a:spLocks noGrp="1"/>
          </p:cNvSpPr>
          <p:nvPr>
            <p:ph type="sldNum" sz="quarter" idx="2"/>
          </p:nvPr>
        </p:nvSpPr>
        <p:spPr>
          <a:xfrm>
            <a:off x="5923977" y="6540500"/>
            <a:ext cx="337698" cy="253059"/>
          </a:xfrm>
          <a:prstGeom prst="rect">
            <a:avLst/>
          </a:prstGeom>
        </p:spPr>
        <p:txBody>
          <a:bodyPr lIns="33866" tIns="33866" rIns="33866" bIns="33866" anchor="t"/>
          <a:lstStyle>
            <a:lvl1pPr algn="ctr" defTabSz="412750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hangingPunct="0"/>
            <a:fld id="{86CB4B4D-7CA3-9044-876B-883B54F8677D}" type="slidenum">
              <a:rPr lang="es-ES" kern="0" smtClean="0"/>
              <a:pPr hangingPunct="0"/>
              <a:t>‹Nº›</a:t>
            </a:fld>
            <a:endParaRPr lang="es-ES" kern="0"/>
          </a:p>
        </p:txBody>
      </p:sp>
    </p:spTree>
    <p:extLst>
      <p:ext uri="{BB962C8B-B14F-4D97-AF65-F5344CB8AC3E}">
        <p14:creationId xmlns:p14="http://schemas.microsoft.com/office/powerpoint/2010/main" val="3544850777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188384" y="6385027"/>
            <a:ext cx="394017" cy="307775"/>
          </a:xfrm>
          <a:prstGeom prst="rect">
            <a:avLst/>
          </a:prstGeom>
        </p:spPr>
        <p:txBody>
          <a:bodyPr/>
          <a:lstStyle>
            <a:lvl1pPr>
              <a:defRPr lang="es-ES" smtClean="0"/>
            </a:lvl1pPr>
          </a:lstStyle>
          <a:p>
            <a:pPr hangingPunct="0"/>
            <a:fld id="{5FE53D8A-B4D9-41DC-B36A-034F02C2EBB3}" type="slidenum">
              <a:rPr lang="es-ES" kern="0" smtClean="0"/>
              <a:pPr hangingPunct="0"/>
              <a:t>‹Nº›</a:t>
            </a:fld>
            <a:endParaRPr lang="es-ES" kern="0"/>
          </a:p>
        </p:txBody>
      </p:sp>
      <p:pic>
        <p:nvPicPr>
          <p:cNvPr id="3" name="Imagen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1883" y="6356350"/>
            <a:ext cx="652208" cy="365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688291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Header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959784" y="6385026"/>
            <a:ext cx="394017" cy="3077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hangingPunct="0"/>
            <a:fld id="{1ED2235E-0982-3B42-A838-A74550CD4449}" type="slidenum">
              <a:rPr lang="en-GB" kern="0" smtClean="0">
                <a:solidFill>
                  <a:prstClr val="white"/>
                </a:solidFill>
              </a:rPr>
              <a:pPr hangingPunct="0"/>
              <a:t>‹Nº›</a:t>
            </a:fld>
            <a:endParaRPr lang="en-GB" kern="0" dirty="0">
              <a:solidFill>
                <a:prstClr val="white"/>
              </a:solidFill>
            </a:endParaRPr>
          </a:p>
        </p:txBody>
      </p:sp>
      <p:sp>
        <p:nvSpPr>
          <p:cNvPr id="13" name="Title 9"/>
          <p:cNvSpPr>
            <a:spLocks noGrp="1"/>
          </p:cNvSpPr>
          <p:nvPr>
            <p:ph type="title" hasCustomPrompt="1"/>
          </p:nvPr>
        </p:nvSpPr>
        <p:spPr>
          <a:xfrm>
            <a:off x="2375428" y="615088"/>
            <a:ext cx="6003399" cy="3496539"/>
          </a:xfrm>
        </p:spPr>
        <p:txBody>
          <a:bodyPr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</a:t>
            </a:r>
            <a:br>
              <a:rPr lang="en-GB" dirty="0" smtClean="0"/>
            </a:br>
            <a:r>
              <a:rPr lang="en-GB" dirty="0" smtClean="0"/>
              <a:t>Master title style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137525" y="141701"/>
            <a:ext cx="1901985" cy="65955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0" marR="0" lvl="0" indent="0" algn="ctr" defTabSz="410765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 Light"/>
              <a:sym typeface="Helvetica Light"/>
            </a:endParaRPr>
          </a:p>
        </p:txBody>
      </p:sp>
      <p:grpSp>
        <p:nvGrpSpPr>
          <p:cNvPr id="11" name="Group 5"/>
          <p:cNvGrpSpPr>
            <a:grpSpLocks noChangeAspect="1"/>
          </p:cNvGrpSpPr>
          <p:nvPr userDrawn="1"/>
        </p:nvGrpSpPr>
        <p:grpSpPr bwMode="auto">
          <a:xfrm>
            <a:off x="9550932" y="689734"/>
            <a:ext cx="1872112" cy="393001"/>
            <a:chOff x="-3303" y="-29"/>
            <a:chExt cx="7074" cy="1485"/>
          </a:xfrm>
          <a:solidFill>
            <a:schemeClr val="bg1"/>
          </a:solidFill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-3303" y="338"/>
              <a:ext cx="1107" cy="1118"/>
            </a:xfrm>
            <a:custGeom>
              <a:avLst/>
              <a:gdLst/>
              <a:ahLst/>
              <a:cxnLst>
                <a:cxn ang="0">
                  <a:pos x="369" y="153"/>
                </a:cxn>
                <a:cxn ang="0">
                  <a:pos x="186" y="0"/>
                </a:cxn>
                <a:cxn ang="0">
                  <a:pos x="0" y="185"/>
                </a:cxn>
                <a:cxn ang="0">
                  <a:pos x="186" y="371"/>
                </a:cxn>
                <a:cxn ang="0">
                  <a:pos x="333" y="298"/>
                </a:cxn>
                <a:cxn ang="0">
                  <a:pos x="289" y="265"/>
                </a:cxn>
                <a:cxn ang="0">
                  <a:pos x="186" y="316"/>
                </a:cxn>
                <a:cxn ang="0">
                  <a:pos x="56" y="185"/>
                </a:cxn>
                <a:cxn ang="0">
                  <a:pos x="186" y="55"/>
                </a:cxn>
                <a:cxn ang="0">
                  <a:pos x="313" y="153"/>
                </a:cxn>
                <a:cxn ang="0">
                  <a:pos x="175" y="153"/>
                </a:cxn>
                <a:cxn ang="0">
                  <a:pos x="175" y="209"/>
                </a:cxn>
                <a:cxn ang="0">
                  <a:pos x="369" y="209"/>
                </a:cxn>
                <a:cxn ang="0">
                  <a:pos x="369" y="153"/>
                </a:cxn>
              </a:cxnLst>
              <a:rect l="0" t="0" r="r" b="b"/>
              <a:pathLst>
                <a:path w="369" h="371">
                  <a:moveTo>
                    <a:pt x="369" y="153"/>
                  </a:moveTo>
                  <a:cubicBezTo>
                    <a:pt x="354" y="66"/>
                    <a:pt x="278" y="0"/>
                    <a:pt x="186" y="0"/>
                  </a:cubicBezTo>
                  <a:cubicBezTo>
                    <a:pt x="84" y="0"/>
                    <a:pt x="0" y="83"/>
                    <a:pt x="0" y="185"/>
                  </a:cubicBezTo>
                  <a:cubicBezTo>
                    <a:pt x="0" y="288"/>
                    <a:pt x="84" y="371"/>
                    <a:pt x="186" y="371"/>
                  </a:cubicBezTo>
                  <a:cubicBezTo>
                    <a:pt x="246" y="371"/>
                    <a:pt x="299" y="343"/>
                    <a:pt x="333" y="298"/>
                  </a:cubicBezTo>
                  <a:cubicBezTo>
                    <a:pt x="289" y="265"/>
                    <a:pt x="289" y="265"/>
                    <a:pt x="289" y="265"/>
                  </a:cubicBezTo>
                  <a:cubicBezTo>
                    <a:pt x="266" y="296"/>
                    <a:pt x="228" y="316"/>
                    <a:pt x="186" y="316"/>
                  </a:cubicBezTo>
                  <a:cubicBezTo>
                    <a:pt x="114" y="316"/>
                    <a:pt x="56" y="257"/>
                    <a:pt x="56" y="185"/>
                  </a:cubicBezTo>
                  <a:cubicBezTo>
                    <a:pt x="56" y="114"/>
                    <a:pt x="114" y="55"/>
                    <a:pt x="186" y="55"/>
                  </a:cubicBezTo>
                  <a:cubicBezTo>
                    <a:pt x="247" y="55"/>
                    <a:pt x="299" y="97"/>
                    <a:pt x="313" y="153"/>
                  </a:cubicBezTo>
                  <a:cubicBezTo>
                    <a:pt x="175" y="153"/>
                    <a:pt x="175" y="153"/>
                    <a:pt x="175" y="153"/>
                  </a:cubicBezTo>
                  <a:cubicBezTo>
                    <a:pt x="175" y="209"/>
                    <a:pt x="175" y="209"/>
                    <a:pt x="175" y="209"/>
                  </a:cubicBezTo>
                  <a:cubicBezTo>
                    <a:pt x="369" y="209"/>
                    <a:pt x="369" y="209"/>
                    <a:pt x="369" y="209"/>
                  </a:cubicBezTo>
                  <a:lnTo>
                    <a:pt x="369" y="15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10765" rtl="0" eaLnBrk="1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" charset="0"/>
                <a:cs typeface="Arial" charset="0"/>
                <a:sym typeface="Helvetica Light"/>
              </a:endParaRPr>
            </a:p>
          </p:txBody>
        </p:sp>
        <p:sp>
          <p:nvSpPr>
            <p:cNvPr id="14" name="Freeform 7"/>
            <p:cNvSpPr>
              <a:spLocks/>
            </p:cNvSpPr>
            <p:nvPr/>
          </p:nvSpPr>
          <p:spPr bwMode="auto">
            <a:xfrm>
              <a:off x="416" y="338"/>
              <a:ext cx="1107" cy="1118"/>
            </a:xfrm>
            <a:custGeom>
              <a:avLst/>
              <a:gdLst/>
              <a:ahLst/>
              <a:cxnLst>
                <a:cxn ang="0">
                  <a:pos x="369" y="153"/>
                </a:cxn>
                <a:cxn ang="0">
                  <a:pos x="186" y="0"/>
                </a:cxn>
                <a:cxn ang="0">
                  <a:pos x="0" y="185"/>
                </a:cxn>
                <a:cxn ang="0">
                  <a:pos x="186" y="371"/>
                </a:cxn>
                <a:cxn ang="0">
                  <a:pos x="333" y="298"/>
                </a:cxn>
                <a:cxn ang="0">
                  <a:pos x="289" y="265"/>
                </a:cxn>
                <a:cxn ang="0">
                  <a:pos x="186" y="316"/>
                </a:cxn>
                <a:cxn ang="0">
                  <a:pos x="55" y="185"/>
                </a:cxn>
                <a:cxn ang="0">
                  <a:pos x="186" y="55"/>
                </a:cxn>
                <a:cxn ang="0">
                  <a:pos x="312" y="153"/>
                </a:cxn>
                <a:cxn ang="0">
                  <a:pos x="175" y="153"/>
                </a:cxn>
                <a:cxn ang="0">
                  <a:pos x="175" y="209"/>
                </a:cxn>
                <a:cxn ang="0">
                  <a:pos x="369" y="209"/>
                </a:cxn>
                <a:cxn ang="0">
                  <a:pos x="369" y="153"/>
                </a:cxn>
              </a:cxnLst>
              <a:rect l="0" t="0" r="r" b="b"/>
              <a:pathLst>
                <a:path w="369" h="371">
                  <a:moveTo>
                    <a:pt x="369" y="153"/>
                  </a:moveTo>
                  <a:cubicBezTo>
                    <a:pt x="354" y="66"/>
                    <a:pt x="277" y="0"/>
                    <a:pt x="186" y="0"/>
                  </a:cubicBezTo>
                  <a:cubicBezTo>
                    <a:pt x="83" y="0"/>
                    <a:pt x="0" y="83"/>
                    <a:pt x="0" y="185"/>
                  </a:cubicBezTo>
                  <a:cubicBezTo>
                    <a:pt x="0" y="288"/>
                    <a:pt x="83" y="371"/>
                    <a:pt x="186" y="371"/>
                  </a:cubicBezTo>
                  <a:cubicBezTo>
                    <a:pt x="246" y="371"/>
                    <a:pt x="299" y="343"/>
                    <a:pt x="333" y="298"/>
                  </a:cubicBezTo>
                  <a:cubicBezTo>
                    <a:pt x="289" y="265"/>
                    <a:pt x="289" y="265"/>
                    <a:pt x="289" y="265"/>
                  </a:cubicBezTo>
                  <a:cubicBezTo>
                    <a:pt x="265" y="296"/>
                    <a:pt x="228" y="316"/>
                    <a:pt x="186" y="316"/>
                  </a:cubicBezTo>
                  <a:cubicBezTo>
                    <a:pt x="114" y="316"/>
                    <a:pt x="55" y="257"/>
                    <a:pt x="55" y="185"/>
                  </a:cubicBezTo>
                  <a:cubicBezTo>
                    <a:pt x="55" y="114"/>
                    <a:pt x="114" y="55"/>
                    <a:pt x="186" y="55"/>
                  </a:cubicBezTo>
                  <a:cubicBezTo>
                    <a:pt x="246" y="55"/>
                    <a:pt x="298" y="97"/>
                    <a:pt x="312" y="153"/>
                  </a:cubicBezTo>
                  <a:cubicBezTo>
                    <a:pt x="175" y="153"/>
                    <a:pt x="175" y="153"/>
                    <a:pt x="175" y="153"/>
                  </a:cubicBezTo>
                  <a:cubicBezTo>
                    <a:pt x="175" y="209"/>
                    <a:pt x="175" y="209"/>
                    <a:pt x="175" y="209"/>
                  </a:cubicBezTo>
                  <a:cubicBezTo>
                    <a:pt x="369" y="209"/>
                    <a:pt x="369" y="209"/>
                    <a:pt x="369" y="209"/>
                  </a:cubicBezTo>
                  <a:lnTo>
                    <a:pt x="369" y="15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10765" rtl="0" eaLnBrk="1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" charset="0"/>
                <a:cs typeface="Arial" charset="0"/>
                <a:sym typeface="Helvetica Light"/>
              </a:endParaRPr>
            </a:p>
          </p:txBody>
        </p:sp>
        <p:sp>
          <p:nvSpPr>
            <p:cNvPr id="15" name="Freeform 8"/>
            <p:cNvSpPr>
              <a:spLocks noChangeAspect="1"/>
            </p:cNvSpPr>
            <p:nvPr/>
          </p:nvSpPr>
          <p:spPr bwMode="auto">
            <a:xfrm>
              <a:off x="-2027" y="338"/>
              <a:ext cx="999" cy="1100"/>
            </a:xfrm>
            <a:custGeom>
              <a:avLst/>
              <a:gdLst/>
              <a:ahLst/>
              <a:cxnLst>
                <a:cxn ang="0">
                  <a:pos x="333" y="153"/>
                </a:cxn>
                <a:cxn ang="0">
                  <a:pos x="179" y="0"/>
                </a:cxn>
                <a:cxn ang="0">
                  <a:pos x="55" y="50"/>
                </a:cxn>
                <a:cxn ang="0">
                  <a:pos x="55" y="15"/>
                </a:cxn>
                <a:cxn ang="0">
                  <a:pos x="0" y="15"/>
                </a:cxn>
                <a:cxn ang="0">
                  <a:pos x="0" y="209"/>
                </a:cxn>
                <a:cxn ang="0">
                  <a:pos x="55" y="209"/>
                </a:cxn>
                <a:cxn ang="0">
                  <a:pos x="55" y="163"/>
                </a:cxn>
                <a:cxn ang="0">
                  <a:pos x="179" y="55"/>
                </a:cxn>
                <a:cxn ang="0">
                  <a:pos x="277" y="153"/>
                </a:cxn>
                <a:cxn ang="0">
                  <a:pos x="277" y="365"/>
                </a:cxn>
                <a:cxn ang="0">
                  <a:pos x="333" y="365"/>
                </a:cxn>
                <a:cxn ang="0">
                  <a:pos x="333" y="153"/>
                </a:cxn>
              </a:cxnLst>
              <a:rect l="0" t="0" r="r" b="b"/>
              <a:pathLst>
                <a:path w="333" h="365">
                  <a:moveTo>
                    <a:pt x="333" y="153"/>
                  </a:moveTo>
                  <a:cubicBezTo>
                    <a:pt x="333" y="68"/>
                    <a:pt x="263" y="0"/>
                    <a:pt x="179" y="0"/>
                  </a:cubicBezTo>
                  <a:cubicBezTo>
                    <a:pt x="130" y="0"/>
                    <a:pt x="87" y="19"/>
                    <a:pt x="55" y="50"/>
                  </a:cubicBezTo>
                  <a:cubicBezTo>
                    <a:pt x="55" y="15"/>
                    <a:pt x="55" y="15"/>
                    <a:pt x="55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55" y="209"/>
                    <a:pt x="55" y="209"/>
                    <a:pt x="55" y="209"/>
                  </a:cubicBezTo>
                  <a:cubicBezTo>
                    <a:pt x="55" y="163"/>
                    <a:pt x="55" y="163"/>
                    <a:pt x="55" y="163"/>
                  </a:cubicBezTo>
                  <a:cubicBezTo>
                    <a:pt x="64" y="118"/>
                    <a:pt x="103" y="55"/>
                    <a:pt x="179" y="55"/>
                  </a:cubicBezTo>
                  <a:cubicBezTo>
                    <a:pt x="233" y="55"/>
                    <a:pt x="277" y="98"/>
                    <a:pt x="277" y="153"/>
                  </a:cubicBezTo>
                  <a:cubicBezTo>
                    <a:pt x="277" y="365"/>
                    <a:pt x="277" y="365"/>
                    <a:pt x="277" y="365"/>
                  </a:cubicBezTo>
                  <a:cubicBezTo>
                    <a:pt x="333" y="365"/>
                    <a:pt x="333" y="365"/>
                    <a:pt x="333" y="365"/>
                  </a:cubicBezTo>
                  <a:lnTo>
                    <a:pt x="333" y="15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10765" rtl="0" eaLnBrk="1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" charset="0"/>
                <a:cs typeface="Arial" charset="0"/>
                <a:sym typeface="Helvetica Light"/>
              </a:endParaRPr>
            </a:p>
          </p:txBody>
        </p:sp>
        <p:sp>
          <p:nvSpPr>
            <p:cNvPr id="16" name="Freeform 9"/>
            <p:cNvSpPr>
              <a:spLocks/>
            </p:cNvSpPr>
            <p:nvPr/>
          </p:nvSpPr>
          <p:spPr bwMode="auto">
            <a:xfrm>
              <a:off x="1688" y="338"/>
              <a:ext cx="813" cy="1118"/>
            </a:xfrm>
            <a:custGeom>
              <a:avLst/>
              <a:gdLst/>
              <a:ahLst/>
              <a:cxnLst>
                <a:cxn ang="0">
                  <a:pos x="218" y="244"/>
                </a:cxn>
                <a:cxn ang="0">
                  <a:pos x="135" y="316"/>
                </a:cxn>
                <a:cxn ang="0">
                  <a:pos x="56" y="249"/>
                </a:cxn>
                <a:cxn ang="0">
                  <a:pos x="1" y="263"/>
                </a:cxn>
                <a:cxn ang="0">
                  <a:pos x="136" y="371"/>
                </a:cxn>
                <a:cxn ang="0">
                  <a:pos x="271" y="236"/>
                </a:cxn>
                <a:cxn ang="0">
                  <a:pos x="269" y="208"/>
                </a:cxn>
                <a:cxn ang="0">
                  <a:pos x="268" y="203"/>
                </a:cxn>
                <a:cxn ang="0">
                  <a:pos x="55" y="125"/>
                </a:cxn>
                <a:cxn ang="0">
                  <a:pos x="133" y="55"/>
                </a:cxn>
                <a:cxn ang="0">
                  <a:pos x="213" y="119"/>
                </a:cxn>
                <a:cxn ang="0">
                  <a:pos x="268" y="106"/>
                </a:cxn>
                <a:cxn ang="0">
                  <a:pos x="132" y="0"/>
                </a:cxn>
                <a:cxn ang="0">
                  <a:pos x="0" y="130"/>
                </a:cxn>
                <a:cxn ang="0">
                  <a:pos x="2" y="164"/>
                </a:cxn>
                <a:cxn ang="0">
                  <a:pos x="218" y="244"/>
                </a:cxn>
              </a:cxnLst>
              <a:rect l="0" t="0" r="r" b="b"/>
              <a:pathLst>
                <a:path w="271" h="371">
                  <a:moveTo>
                    <a:pt x="218" y="244"/>
                  </a:moveTo>
                  <a:cubicBezTo>
                    <a:pt x="218" y="284"/>
                    <a:pt x="180" y="316"/>
                    <a:pt x="135" y="316"/>
                  </a:cubicBezTo>
                  <a:cubicBezTo>
                    <a:pt x="65" y="316"/>
                    <a:pt x="56" y="249"/>
                    <a:pt x="56" y="249"/>
                  </a:cubicBezTo>
                  <a:cubicBezTo>
                    <a:pt x="1" y="263"/>
                    <a:pt x="1" y="263"/>
                    <a:pt x="1" y="263"/>
                  </a:cubicBezTo>
                  <a:cubicBezTo>
                    <a:pt x="1" y="263"/>
                    <a:pt x="21" y="371"/>
                    <a:pt x="136" y="371"/>
                  </a:cubicBezTo>
                  <a:cubicBezTo>
                    <a:pt x="221" y="371"/>
                    <a:pt x="271" y="302"/>
                    <a:pt x="271" y="236"/>
                  </a:cubicBezTo>
                  <a:cubicBezTo>
                    <a:pt x="271" y="221"/>
                    <a:pt x="271" y="216"/>
                    <a:pt x="269" y="208"/>
                  </a:cubicBezTo>
                  <a:cubicBezTo>
                    <a:pt x="268" y="203"/>
                    <a:pt x="268" y="203"/>
                    <a:pt x="268" y="203"/>
                  </a:cubicBezTo>
                  <a:cubicBezTo>
                    <a:pt x="55" y="125"/>
                    <a:pt x="55" y="125"/>
                    <a:pt x="55" y="125"/>
                  </a:cubicBezTo>
                  <a:cubicBezTo>
                    <a:pt x="60" y="92"/>
                    <a:pt x="94" y="55"/>
                    <a:pt x="133" y="55"/>
                  </a:cubicBezTo>
                  <a:cubicBezTo>
                    <a:pt x="206" y="55"/>
                    <a:pt x="213" y="119"/>
                    <a:pt x="213" y="119"/>
                  </a:cubicBezTo>
                  <a:cubicBezTo>
                    <a:pt x="268" y="106"/>
                    <a:pt x="268" y="106"/>
                    <a:pt x="268" y="106"/>
                  </a:cubicBezTo>
                  <a:cubicBezTo>
                    <a:pt x="268" y="106"/>
                    <a:pt x="250" y="0"/>
                    <a:pt x="132" y="0"/>
                  </a:cubicBezTo>
                  <a:cubicBezTo>
                    <a:pt x="53" y="0"/>
                    <a:pt x="0" y="67"/>
                    <a:pt x="0" y="130"/>
                  </a:cubicBezTo>
                  <a:cubicBezTo>
                    <a:pt x="0" y="145"/>
                    <a:pt x="2" y="164"/>
                    <a:pt x="2" y="164"/>
                  </a:cubicBezTo>
                  <a:lnTo>
                    <a:pt x="218" y="24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10765" rtl="0" eaLnBrk="1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" charset="0"/>
                <a:cs typeface="Arial" charset="0"/>
                <a:sym typeface="Helvetica Light"/>
              </a:endParaRPr>
            </a:p>
          </p:txBody>
        </p:sp>
        <p:sp>
          <p:nvSpPr>
            <p:cNvPr id="18" name="Freeform 10"/>
            <p:cNvSpPr>
              <a:spLocks/>
            </p:cNvSpPr>
            <p:nvPr/>
          </p:nvSpPr>
          <p:spPr bwMode="auto">
            <a:xfrm>
              <a:off x="-863" y="-29"/>
              <a:ext cx="1113" cy="1485"/>
            </a:xfrm>
            <a:custGeom>
              <a:avLst/>
              <a:gdLst/>
              <a:ahLst/>
              <a:cxnLst>
                <a:cxn ang="0">
                  <a:pos x="315" y="0"/>
                </a:cxn>
                <a:cxn ang="0">
                  <a:pos x="315" y="174"/>
                </a:cxn>
                <a:cxn ang="0">
                  <a:pos x="186" y="122"/>
                </a:cxn>
                <a:cxn ang="0">
                  <a:pos x="0" y="307"/>
                </a:cxn>
                <a:cxn ang="0">
                  <a:pos x="186" y="493"/>
                </a:cxn>
                <a:cxn ang="0">
                  <a:pos x="289" y="462"/>
                </a:cxn>
                <a:cxn ang="0">
                  <a:pos x="258" y="416"/>
                </a:cxn>
                <a:cxn ang="0">
                  <a:pos x="186" y="438"/>
                </a:cxn>
                <a:cxn ang="0">
                  <a:pos x="55" y="307"/>
                </a:cxn>
                <a:cxn ang="0">
                  <a:pos x="186" y="177"/>
                </a:cxn>
                <a:cxn ang="0">
                  <a:pos x="315" y="294"/>
                </a:cxn>
                <a:cxn ang="0">
                  <a:pos x="315" y="487"/>
                </a:cxn>
                <a:cxn ang="0">
                  <a:pos x="371" y="487"/>
                </a:cxn>
                <a:cxn ang="0">
                  <a:pos x="371" y="0"/>
                </a:cxn>
                <a:cxn ang="0">
                  <a:pos x="315" y="0"/>
                </a:cxn>
              </a:cxnLst>
              <a:rect l="0" t="0" r="r" b="b"/>
              <a:pathLst>
                <a:path w="371" h="493">
                  <a:moveTo>
                    <a:pt x="315" y="0"/>
                  </a:moveTo>
                  <a:cubicBezTo>
                    <a:pt x="315" y="174"/>
                    <a:pt x="315" y="174"/>
                    <a:pt x="315" y="174"/>
                  </a:cubicBezTo>
                  <a:cubicBezTo>
                    <a:pt x="282" y="142"/>
                    <a:pt x="236" y="122"/>
                    <a:pt x="186" y="122"/>
                  </a:cubicBezTo>
                  <a:cubicBezTo>
                    <a:pt x="83" y="122"/>
                    <a:pt x="0" y="205"/>
                    <a:pt x="0" y="307"/>
                  </a:cubicBezTo>
                  <a:cubicBezTo>
                    <a:pt x="0" y="410"/>
                    <a:pt x="83" y="493"/>
                    <a:pt x="186" y="493"/>
                  </a:cubicBezTo>
                  <a:cubicBezTo>
                    <a:pt x="224" y="493"/>
                    <a:pt x="259" y="482"/>
                    <a:pt x="289" y="462"/>
                  </a:cubicBezTo>
                  <a:cubicBezTo>
                    <a:pt x="258" y="416"/>
                    <a:pt x="258" y="416"/>
                    <a:pt x="258" y="416"/>
                  </a:cubicBezTo>
                  <a:cubicBezTo>
                    <a:pt x="237" y="430"/>
                    <a:pt x="212" y="438"/>
                    <a:pt x="186" y="438"/>
                  </a:cubicBezTo>
                  <a:cubicBezTo>
                    <a:pt x="114" y="438"/>
                    <a:pt x="55" y="379"/>
                    <a:pt x="55" y="307"/>
                  </a:cubicBezTo>
                  <a:cubicBezTo>
                    <a:pt x="55" y="236"/>
                    <a:pt x="114" y="177"/>
                    <a:pt x="186" y="177"/>
                  </a:cubicBezTo>
                  <a:cubicBezTo>
                    <a:pt x="253" y="177"/>
                    <a:pt x="308" y="228"/>
                    <a:pt x="315" y="294"/>
                  </a:cubicBezTo>
                  <a:cubicBezTo>
                    <a:pt x="315" y="487"/>
                    <a:pt x="315" y="487"/>
                    <a:pt x="315" y="487"/>
                  </a:cubicBezTo>
                  <a:cubicBezTo>
                    <a:pt x="371" y="487"/>
                    <a:pt x="371" y="487"/>
                    <a:pt x="371" y="487"/>
                  </a:cubicBezTo>
                  <a:cubicBezTo>
                    <a:pt x="371" y="0"/>
                    <a:pt x="371" y="0"/>
                    <a:pt x="371" y="0"/>
                  </a:cubicBezTo>
                  <a:lnTo>
                    <a:pt x="31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10765" rtl="0" eaLnBrk="1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" charset="0"/>
                <a:cs typeface="Arial" charset="0"/>
                <a:sym typeface="Helvetica Light"/>
              </a:endParaRPr>
            </a:p>
          </p:txBody>
        </p:sp>
        <p:sp>
          <p:nvSpPr>
            <p:cNvPr id="19" name="Freeform 11"/>
            <p:cNvSpPr>
              <a:spLocks/>
            </p:cNvSpPr>
            <p:nvPr/>
          </p:nvSpPr>
          <p:spPr bwMode="auto">
            <a:xfrm>
              <a:off x="2661" y="338"/>
              <a:ext cx="1110" cy="1118"/>
            </a:xfrm>
            <a:custGeom>
              <a:avLst/>
              <a:gdLst/>
              <a:ahLst/>
              <a:cxnLst>
                <a:cxn ang="0">
                  <a:pos x="315" y="8"/>
                </a:cxn>
                <a:cxn ang="0">
                  <a:pos x="315" y="52"/>
                </a:cxn>
                <a:cxn ang="0">
                  <a:pos x="185" y="0"/>
                </a:cxn>
                <a:cxn ang="0">
                  <a:pos x="0" y="185"/>
                </a:cxn>
                <a:cxn ang="0">
                  <a:pos x="185" y="371"/>
                </a:cxn>
                <a:cxn ang="0">
                  <a:pos x="289" y="340"/>
                </a:cxn>
                <a:cxn ang="0">
                  <a:pos x="258" y="294"/>
                </a:cxn>
                <a:cxn ang="0">
                  <a:pos x="185" y="316"/>
                </a:cxn>
                <a:cxn ang="0">
                  <a:pos x="55" y="185"/>
                </a:cxn>
                <a:cxn ang="0">
                  <a:pos x="185" y="55"/>
                </a:cxn>
                <a:cxn ang="0">
                  <a:pos x="315" y="172"/>
                </a:cxn>
                <a:cxn ang="0">
                  <a:pos x="315" y="365"/>
                </a:cxn>
                <a:cxn ang="0">
                  <a:pos x="370" y="365"/>
                </a:cxn>
                <a:cxn ang="0">
                  <a:pos x="370" y="8"/>
                </a:cxn>
                <a:cxn ang="0">
                  <a:pos x="315" y="8"/>
                </a:cxn>
              </a:cxnLst>
              <a:rect l="0" t="0" r="r" b="b"/>
              <a:pathLst>
                <a:path w="370" h="371">
                  <a:moveTo>
                    <a:pt x="315" y="8"/>
                  </a:moveTo>
                  <a:cubicBezTo>
                    <a:pt x="315" y="52"/>
                    <a:pt x="315" y="52"/>
                    <a:pt x="315" y="52"/>
                  </a:cubicBezTo>
                  <a:cubicBezTo>
                    <a:pt x="281" y="20"/>
                    <a:pt x="236" y="0"/>
                    <a:pt x="185" y="0"/>
                  </a:cubicBezTo>
                  <a:cubicBezTo>
                    <a:pt x="83" y="0"/>
                    <a:pt x="0" y="83"/>
                    <a:pt x="0" y="185"/>
                  </a:cubicBezTo>
                  <a:cubicBezTo>
                    <a:pt x="0" y="288"/>
                    <a:pt x="83" y="371"/>
                    <a:pt x="185" y="371"/>
                  </a:cubicBezTo>
                  <a:cubicBezTo>
                    <a:pt x="224" y="371"/>
                    <a:pt x="259" y="360"/>
                    <a:pt x="289" y="340"/>
                  </a:cubicBezTo>
                  <a:cubicBezTo>
                    <a:pt x="258" y="294"/>
                    <a:pt x="258" y="294"/>
                    <a:pt x="258" y="294"/>
                  </a:cubicBezTo>
                  <a:cubicBezTo>
                    <a:pt x="237" y="308"/>
                    <a:pt x="212" y="316"/>
                    <a:pt x="185" y="316"/>
                  </a:cubicBezTo>
                  <a:cubicBezTo>
                    <a:pt x="113" y="316"/>
                    <a:pt x="55" y="257"/>
                    <a:pt x="55" y="185"/>
                  </a:cubicBezTo>
                  <a:cubicBezTo>
                    <a:pt x="55" y="114"/>
                    <a:pt x="113" y="55"/>
                    <a:pt x="185" y="55"/>
                  </a:cubicBezTo>
                  <a:cubicBezTo>
                    <a:pt x="253" y="55"/>
                    <a:pt x="308" y="106"/>
                    <a:pt x="315" y="172"/>
                  </a:cubicBezTo>
                  <a:cubicBezTo>
                    <a:pt x="315" y="365"/>
                    <a:pt x="315" y="365"/>
                    <a:pt x="315" y="365"/>
                  </a:cubicBezTo>
                  <a:cubicBezTo>
                    <a:pt x="370" y="365"/>
                    <a:pt x="370" y="365"/>
                    <a:pt x="370" y="365"/>
                  </a:cubicBezTo>
                  <a:cubicBezTo>
                    <a:pt x="370" y="8"/>
                    <a:pt x="370" y="8"/>
                    <a:pt x="370" y="8"/>
                  </a:cubicBezTo>
                  <a:lnTo>
                    <a:pt x="315" y="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10765" rtl="0" eaLnBrk="1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" charset="0"/>
                <a:cs typeface="Arial" charset="0"/>
                <a:sym typeface="Helvetica Light"/>
              </a:endParaRPr>
            </a:p>
          </p:txBody>
        </p:sp>
      </p:grpSp>
      <p:sp>
        <p:nvSpPr>
          <p:cNvPr id="2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82827" y="6264005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pPr defTabSz="410765" hangingPunct="0"/>
            <a:r>
              <a:rPr lang="en-GB" kern="0" smtClean="0">
                <a:solidFill>
                  <a:prstClr val="white"/>
                </a:solidFill>
                <a:sym typeface="Helvetica Light"/>
              </a:rPr>
              <a:t>Presentation footer 10PT. Please add the relevant country to the footer.</a:t>
            </a:r>
            <a:endParaRPr lang="en-GB" kern="0" dirty="0">
              <a:solidFill>
                <a:prstClr val="white"/>
              </a:solidFill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379115926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pPr algn="ctr" defTabSz="410765" hangingPunct="0"/>
            <a:fld id="{DFB5A2FC-F01D-4334-B405-876FBDB2F17B}" type="datetime1">
              <a:rPr lang="en-GB" sz="2400" kern="0" smtClean="0">
                <a:solidFill>
                  <a:srgbClr val="000000"/>
                </a:solidFill>
                <a:sym typeface="Helvetica Light"/>
              </a:rPr>
              <a:pPr algn="ctr" defTabSz="410765" hangingPunct="0"/>
              <a:t>15/06/2018</a:t>
            </a:fld>
            <a:endParaRPr lang="en-GB" sz="2400" kern="0" dirty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pPr algn="ctr" defTabSz="410765" hangingPunct="0"/>
            <a:r>
              <a:rPr lang="en-GB" sz="2400" kern="0" smtClean="0">
                <a:solidFill>
                  <a:srgbClr val="000000"/>
                </a:solidFill>
                <a:sym typeface="Helvetica Light"/>
              </a:rPr>
              <a:t>Presentation footer 10PT. Please add the relevant country to the footer.</a:t>
            </a:r>
            <a:endParaRPr lang="en-GB" sz="2400" kern="0" dirty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959784" y="6385026"/>
            <a:ext cx="394017" cy="307775"/>
          </a:xfrm>
        </p:spPr>
        <p:txBody>
          <a:bodyPr/>
          <a:lstStyle/>
          <a:p>
            <a:pPr hangingPunct="0"/>
            <a:fld id="{1ED2235E-0982-3B42-A838-A74550CD4449}" type="slidenum">
              <a:rPr lang="en-GB" kern="0" smtClean="0"/>
              <a:pPr hangingPunct="0"/>
              <a:t>‹Nº›</a:t>
            </a:fld>
            <a:endParaRPr lang="en-GB" kern="0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085366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621272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2" y="1723878"/>
            <a:ext cx="7616824" cy="1368425"/>
          </a:xfrm>
        </p:spPr>
        <p:txBody>
          <a:bodyPr anchor="t">
            <a:noAutofit/>
          </a:bodyPr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2826" y="3429008"/>
            <a:ext cx="6109388" cy="27699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s-ES" smtClean="0"/>
              <a:t>Haga clic para modificar el estilo de subtítulo del patrón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5520" y="3429008"/>
            <a:ext cx="1510613" cy="276999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1800">
                <a:solidFill>
                  <a:schemeClr val="tx1"/>
                </a:solidFill>
              </a:defRPr>
            </a:lvl1pPr>
          </a:lstStyle>
          <a:p>
            <a:pPr algn="ctr" defTabSz="410765" hangingPunct="0"/>
            <a:fld id="{8B377B34-6D7B-4E8C-BE0C-57CEA27E5C89}" type="datetime1">
              <a:rPr lang="en-GB" kern="0" smtClean="0">
                <a:solidFill>
                  <a:srgbClr val="000000"/>
                </a:solidFill>
                <a:sym typeface="Helvetica Light"/>
              </a:rPr>
              <a:pPr algn="ctr" defTabSz="410765" hangingPunct="0"/>
              <a:t>15/06/2018</a:t>
            </a:fld>
            <a:endParaRPr lang="en-GB" kern="0" dirty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9" name="Rectangle 8"/>
          <p:cNvSpPr/>
          <p:nvPr userDrawn="1"/>
        </p:nvSpPr>
        <p:spPr>
          <a:xfrm rot="16200000">
            <a:off x="1615349" y="-157777"/>
            <a:ext cx="691602" cy="239829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0" marR="0" lvl="0" indent="0" algn="ctr" defTabSz="410765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Light"/>
              <a:sym typeface="Helvetica Ligh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70116" y="5536544"/>
            <a:ext cx="3075759" cy="661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1332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72212" y="6264005"/>
            <a:ext cx="1510613" cy="153888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pPr algn="ctr" defTabSz="410765" hangingPunct="0"/>
            <a:fld id="{521C9995-6F84-40C7-A1DC-4AD0AE1E539B}" type="datetime1">
              <a:rPr lang="en-GB" sz="2400" kern="0" smtClean="0">
                <a:solidFill>
                  <a:srgbClr val="000000"/>
                </a:solidFill>
                <a:sym typeface="Helvetica Light"/>
              </a:rPr>
              <a:pPr algn="ctr" defTabSz="410765" hangingPunct="0"/>
              <a:t>15/06/2018</a:t>
            </a:fld>
            <a:endParaRPr lang="en-GB" sz="2400" kern="0" dirty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82826" y="6264005"/>
            <a:ext cx="8381999" cy="153888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pPr algn="ctr" defTabSz="410765" hangingPunct="0"/>
            <a:r>
              <a:rPr lang="en-GB" sz="2400" kern="0" smtClean="0">
                <a:solidFill>
                  <a:srgbClr val="000000"/>
                </a:solidFill>
                <a:sym typeface="Helvetica Light"/>
              </a:rPr>
              <a:t>España</a:t>
            </a:r>
            <a:endParaRPr lang="en-GB" sz="2400" kern="0" dirty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959784" y="6394259"/>
            <a:ext cx="394017" cy="289308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pPr hangingPunct="0"/>
            <a:fld id="{1ED2235E-0982-3B42-A838-A74550CD4449}" type="slidenum">
              <a:rPr lang="en-GB" kern="0" smtClean="0"/>
              <a:pPr hangingPunct="0"/>
              <a:t>‹Nº›</a:t>
            </a:fld>
            <a:endParaRPr lang="en-GB" kern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085366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403225" y="688976"/>
            <a:ext cx="196850" cy="6826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0" marR="0" lvl="0" indent="0" algn="ctr" defTabSz="410765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/>
              <a:sym typeface="Helvetica Light"/>
            </a:endParaRPr>
          </a:p>
        </p:txBody>
      </p:sp>
      <p:pic>
        <p:nvPicPr>
          <p:cNvPr id="11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41120" y="689732"/>
            <a:ext cx="1895417" cy="407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476497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Key Messag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72212" y="6264005"/>
            <a:ext cx="151061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 defTabSz="410765" hangingPunct="0"/>
            <a:fld id="{5B435024-75F1-4D5F-9C7A-DEE128261E9F}" type="datetime1">
              <a:rPr lang="en-GB" sz="2400" kern="0" smtClean="0">
                <a:solidFill>
                  <a:srgbClr val="FFFFFF"/>
                </a:solidFill>
                <a:sym typeface="Helvetica Light"/>
              </a:rPr>
              <a:pPr algn="ctr" defTabSz="410765" hangingPunct="0"/>
              <a:t>15/06/2018</a:t>
            </a:fld>
            <a:endParaRPr lang="en-GB" sz="2400" kern="0" dirty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82826" y="6264005"/>
            <a:ext cx="8381999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 defTabSz="410765" hangingPunct="0"/>
            <a:r>
              <a:rPr lang="en-GB" sz="2400" kern="0" smtClean="0">
                <a:solidFill>
                  <a:srgbClr val="FFFFFF"/>
                </a:solidFill>
                <a:sym typeface="Helvetica Light"/>
              </a:rPr>
              <a:t>España</a:t>
            </a:r>
            <a:endParaRPr lang="en-GB" sz="2400" kern="0" dirty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959784" y="6385026"/>
            <a:ext cx="394017" cy="3077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hangingPunct="0"/>
            <a:fld id="{1ED2235E-0982-3B42-A838-A74550CD4449}" type="slidenum">
              <a:rPr lang="en-GB" kern="0" smtClean="0">
                <a:solidFill>
                  <a:srgbClr val="FFFFFF"/>
                </a:solidFill>
              </a:rPr>
              <a:pPr hangingPunct="0"/>
              <a:t>‹Nº›</a:t>
            </a:fld>
            <a:endParaRPr lang="en-GB" kern="0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 rot="5400000">
            <a:off x="1845391" y="-394416"/>
            <a:ext cx="878042" cy="30448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0" marR="0" lvl="0" indent="0" algn="ctr" defTabSz="410765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0" cap="none" spc="0" normalizeH="0" baseline="0" noProof="0" dirty="0">
              <a:ln>
                <a:noFill/>
              </a:ln>
              <a:solidFill>
                <a:srgbClr val="0365C0"/>
              </a:solidFill>
              <a:effectLst/>
              <a:uLnTx/>
              <a:uFillTx/>
              <a:latin typeface="Helvetica Light"/>
              <a:sym typeface="Helvetica Light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72211" y="1905918"/>
            <a:ext cx="7606614" cy="3577306"/>
          </a:xfrm>
        </p:spPr>
        <p:txBody>
          <a:bodyPr/>
          <a:lstStyle>
            <a:lvl1pPr>
              <a:defRPr sz="48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60040855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ítulo y subtítulo copia 1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12"/>
          <p:cNvSpPr>
            <a:spLocks noGrp="1"/>
          </p:cNvSpPr>
          <p:nvPr>
            <p:ph type="sldNum" sz="quarter" idx="2"/>
          </p:nvPr>
        </p:nvSpPr>
        <p:spPr>
          <a:xfrm>
            <a:off x="5923977" y="6540500"/>
            <a:ext cx="337698" cy="253059"/>
          </a:xfrm>
          <a:prstGeom prst="rect">
            <a:avLst/>
          </a:prstGeom>
        </p:spPr>
        <p:txBody>
          <a:bodyPr lIns="33866" tIns="33866" rIns="33866" bIns="33866" anchor="t"/>
          <a:lstStyle>
            <a:lvl1pPr algn="ctr" defTabSz="412750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hangingPunct="0"/>
            <a:fld id="{86CB4B4D-7CA3-9044-876B-883B54F8677D}" type="slidenum">
              <a:rPr lang="es-ES" kern="0" smtClean="0"/>
              <a:pPr hangingPunct="0"/>
              <a:t>‹Nº›</a:t>
            </a:fld>
            <a:endParaRPr lang="es-ES" kern="0"/>
          </a:p>
        </p:txBody>
      </p:sp>
      <p:pic>
        <p:nvPicPr>
          <p:cNvPr id="4" name="Endesa_Logo_Primary_RGB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5900" y="6417900"/>
            <a:ext cx="1013542" cy="213300"/>
          </a:xfrm>
          <a:prstGeom prst="rect">
            <a:avLst/>
          </a:prstGeom>
          <a:ln w="3175">
            <a:miter lim="400000"/>
          </a:ln>
        </p:spPr>
      </p:pic>
    </p:spTree>
    <p:extLst>
      <p:ext uri="{BB962C8B-B14F-4D97-AF65-F5344CB8AC3E}">
        <p14:creationId xmlns:p14="http://schemas.microsoft.com/office/powerpoint/2010/main" val="117037587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cabezado de secció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1"/>
          <p:cNvSpPr>
            <a:spLocks noGrp="1"/>
          </p:cNvSpPr>
          <p:nvPr>
            <p:ph type="dt" sz="half" idx="10"/>
          </p:nvPr>
        </p:nvSpPr>
        <p:spPr>
          <a:xfrm>
            <a:off x="772211" y="6264005"/>
            <a:ext cx="1510613" cy="153888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9EE3A1-8061-4F73-9107-04A413D09A64}" type="datetime1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C6C6C6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/06/2018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C6C6C6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2282825" y="6264005"/>
            <a:ext cx="8381999" cy="153888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6C6C6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sentation footer 10PT. Please add the relevant country to the footer.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C6C6C6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664825" y="6264005"/>
            <a:ext cx="762000" cy="153888"/>
          </a:xfr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D2235E-0982-3B42-A838-A74550CD4449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C6C6C6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C6C6C6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1119" y="689732"/>
            <a:ext cx="1895417" cy="407673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>
            <a:off x="759392" y="688247"/>
            <a:ext cx="986996" cy="34226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655F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itle 9"/>
          <p:cNvSpPr>
            <a:spLocks noGrp="1"/>
          </p:cNvSpPr>
          <p:nvPr>
            <p:ph type="title" hasCustomPrompt="1"/>
          </p:nvPr>
        </p:nvSpPr>
        <p:spPr>
          <a:xfrm>
            <a:off x="2082306" y="615086"/>
            <a:ext cx="5534519" cy="3495811"/>
          </a:xfrm>
        </p:spPr>
        <p:txBody>
          <a:bodyPr>
            <a:noAutofit/>
          </a:bodyPr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GB" dirty="0" smtClean="0"/>
              <a:t>Click to edit </a:t>
            </a:r>
            <a:br>
              <a:rPr lang="en-GB" dirty="0" smtClean="0"/>
            </a:br>
            <a:r>
              <a:rPr lang="en-GB" dirty="0" smtClean="0"/>
              <a:t>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21862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ítulo y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hape 19"/>
          <p:cNvSpPr>
            <a:spLocks noGrp="1"/>
          </p:cNvSpPr>
          <p:nvPr>
            <p:ph type="sldNum" sz="quarter" idx="2"/>
          </p:nvPr>
        </p:nvSpPr>
        <p:spPr>
          <a:xfrm>
            <a:off x="5908793" y="6505277"/>
            <a:ext cx="365485" cy="280846"/>
          </a:xfrm>
          <a:prstGeom prst="rect">
            <a:avLst/>
          </a:prstGeom>
        </p:spPr>
        <p:txBody>
          <a:bodyPr lIns="47625" tIns="47625" rIns="47625" bIns="47625" anchor="t"/>
          <a:lstStyle>
            <a:lvl1pPr algn="ctr" defTabSz="410765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hangingPunct="0"/>
            <a:fld id="{86CB4B4D-7CA3-9044-876B-883B54F8677D}" type="slidenum">
              <a:rPr lang="es-ES" kern="0" smtClean="0"/>
              <a:pPr hangingPunct="0"/>
              <a:t>‹Nº›</a:t>
            </a:fld>
            <a:endParaRPr lang="es-ES" kern="0"/>
          </a:p>
        </p:txBody>
      </p:sp>
    </p:spTree>
    <p:extLst>
      <p:ext uri="{BB962C8B-B14F-4D97-AF65-F5344CB8AC3E}">
        <p14:creationId xmlns:p14="http://schemas.microsoft.com/office/powerpoint/2010/main" val="260266770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ítulo y viñet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Shape 26"/>
          <p:cNvSpPr>
            <a:spLocks noGrp="1"/>
          </p:cNvSpPr>
          <p:nvPr>
            <p:ph type="sldNum" sz="quarter" idx="2"/>
          </p:nvPr>
        </p:nvSpPr>
        <p:spPr>
          <a:xfrm>
            <a:off x="5908793" y="6505277"/>
            <a:ext cx="365485" cy="280846"/>
          </a:xfrm>
          <a:prstGeom prst="rect">
            <a:avLst/>
          </a:prstGeom>
        </p:spPr>
        <p:txBody>
          <a:bodyPr lIns="47625" tIns="47625" rIns="47625" bIns="47625" anchor="t"/>
          <a:lstStyle>
            <a:lvl1pPr algn="ctr" defTabSz="410765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hangingPunct="0"/>
            <a:fld id="{86CB4B4D-7CA3-9044-876B-883B54F8677D}" type="slidenum">
              <a:rPr lang="es-ES" kern="0" smtClean="0"/>
              <a:pPr hangingPunct="0"/>
              <a:t>‹Nº›</a:t>
            </a:fld>
            <a:endParaRPr lang="es-ES" kern="0"/>
          </a:p>
        </p:txBody>
      </p:sp>
    </p:spTree>
    <p:extLst>
      <p:ext uri="{BB962C8B-B14F-4D97-AF65-F5344CB8AC3E}">
        <p14:creationId xmlns:p14="http://schemas.microsoft.com/office/powerpoint/2010/main" val="10488031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ítulo y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Shape 40"/>
          <p:cNvSpPr>
            <a:spLocks noGrp="1"/>
          </p:cNvSpPr>
          <p:nvPr>
            <p:ph type="sldNum" sz="quarter" idx="2"/>
          </p:nvPr>
        </p:nvSpPr>
        <p:spPr>
          <a:xfrm>
            <a:off x="8443291" y="6240935"/>
            <a:ext cx="294310" cy="230830"/>
          </a:xfrm>
          <a:prstGeom prst="rect">
            <a:avLst/>
          </a:prstGeom>
        </p:spPr>
        <p:txBody>
          <a:bodyPr lIns="45719" tIns="45719" rIns="45719" bIns="45719"/>
          <a:lstStyle>
            <a:lvl1pPr defTabSz="438150">
              <a:defRPr sz="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hangingPunct="0"/>
            <a:fld id="{86CB4B4D-7CA3-9044-876B-883B54F8677D}" type="slidenum">
              <a:rPr lang="es-ES" kern="0" smtClean="0"/>
              <a:pPr hangingPunct="0"/>
              <a:t>‹Nº›</a:t>
            </a:fld>
            <a:endParaRPr lang="es-ES" kern="0"/>
          </a:p>
        </p:txBody>
      </p:sp>
    </p:spTree>
    <p:extLst>
      <p:ext uri="{BB962C8B-B14F-4D97-AF65-F5344CB8AC3E}">
        <p14:creationId xmlns:p14="http://schemas.microsoft.com/office/powerpoint/2010/main" val="231958635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hape 47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o del título</a:t>
            </a:r>
          </a:p>
        </p:txBody>
      </p:sp>
      <p:sp>
        <p:nvSpPr>
          <p:cNvPr id="48" name="Shape 48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49" name="Shape 49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hangingPunct="0"/>
            <a:fld id="{86CB4B4D-7CA3-9044-876B-883B54F8677D}" type="slidenum">
              <a:rPr lang="es-ES" kern="0" smtClean="0"/>
              <a:pPr hangingPunct="0"/>
              <a:t>‹Nº›</a:t>
            </a:fld>
            <a:endParaRPr lang="es-ES" kern="0"/>
          </a:p>
        </p:txBody>
      </p:sp>
    </p:spTree>
    <p:extLst>
      <p:ext uri="{BB962C8B-B14F-4D97-AF65-F5344CB8AC3E}">
        <p14:creationId xmlns:p14="http://schemas.microsoft.com/office/powerpoint/2010/main" val="85413024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ítulo y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image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9539" y="132721"/>
            <a:ext cx="1153778" cy="1015246"/>
          </a:xfrm>
          <a:prstGeom prst="rect">
            <a:avLst/>
          </a:prstGeom>
          <a:ln w="3175">
            <a:miter lim="400000"/>
          </a:ln>
        </p:spPr>
      </p:pic>
      <p:sp>
        <p:nvSpPr>
          <p:cNvPr id="57" name="Shape 57"/>
          <p:cNvSpPr>
            <a:spLocks noGrp="1"/>
          </p:cNvSpPr>
          <p:nvPr>
            <p:ph type="sldNum" sz="quarter" idx="2"/>
          </p:nvPr>
        </p:nvSpPr>
        <p:spPr>
          <a:xfrm>
            <a:off x="8443291" y="6240935"/>
            <a:ext cx="294310" cy="230830"/>
          </a:xfrm>
          <a:prstGeom prst="rect">
            <a:avLst/>
          </a:prstGeom>
        </p:spPr>
        <p:txBody>
          <a:bodyPr lIns="45719" tIns="45719" rIns="45719" bIns="45719"/>
          <a:lstStyle>
            <a:lvl1pPr defTabSz="438150">
              <a:defRPr sz="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hangingPunct="0"/>
            <a:fld id="{86CB4B4D-7CA3-9044-876B-883B54F8677D}" type="slidenum">
              <a:rPr lang="es-ES" kern="0" smtClean="0"/>
              <a:pPr hangingPunct="0"/>
              <a:t>‹Nº›</a:t>
            </a:fld>
            <a:endParaRPr lang="es-ES" kern="0"/>
          </a:p>
        </p:txBody>
      </p:sp>
    </p:spTree>
    <p:extLst>
      <p:ext uri="{BB962C8B-B14F-4D97-AF65-F5344CB8AC3E}">
        <p14:creationId xmlns:p14="http://schemas.microsoft.com/office/powerpoint/2010/main" val="35101182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log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5" name="Group 85"/>
          <p:cNvGrpSpPr/>
          <p:nvPr/>
        </p:nvGrpSpPr>
        <p:grpSpPr>
          <a:xfrm>
            <a:off x="10604259" y="6258080"/>
            <a:ext cx="1178975" cy="247496"/>
            <a:chOff x="0" y="0"/>
            <a:chExt cx="1571966" cy="329993"/>
          </a:xfrm>
        </p:grpSpPr>
        <p:sp>
          <p:nvSpPr>
            <p:cNvPr id="79" name="Shape 79"/>
            <p:cNvSpPr/>
            <p:nvPr/>
          </p:nvSpPr>
          <p:spPr>
            <a:xfrm>
              <a:off x="0" y="81553"/>
              <a:ext cx="245995" cy="2484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8908"/>
                  </a:moveTo>
                  <a:cubicBezTo>
                    <a:pt x="20722" y="3843"/>
                    <a:pt x="16273" y="0"/>
                    <a:pt x="10888" y="0"/>
                  </a:cubicBezTo>
                  <a:cubicBezTo>
                    <a:pt x="4917" y="0"/>
                    <a:pt x="0" y="4832"/>
                    <a:pt x="0" y="10771"/>
                  </a:cubicBezTo>
                  <a:cubicBezTo>
                    <a:pt x="0" y="16768"/>
                    <a:pt x="4917" y="21600"/>
                    <a:pt x="10888" y="21600"/>
                  </a:cubicBezTo>
                  <a:cubicBezTo>
                    <a:pt x="14400" y="21600"/>
                    <a:pt x="17502" y="19970"/>
                    <a:pt x="19493" y="17350"/>
                  </a:cubicBezTo>
                  <a:cubicBezTo>
                    <a:pt x="16917" y="15429"/>
                    <a:pt x="16917" y="15429"/>
                    <a:pt x="16917" y="15429"/>
                  </a:cubicBezTo>
                  <a:cubicBezTo>
                    <a:pt x="15571" y="17233"/>
                    <a:pt x="13346" y="18398"/>
                    <a:pt x="10888" y="18398"/>
                  </a:cubicBezTo>
                  <a:cubicBezTo>
                    <a:pt x="6673" y="18398"/>
                    <a:pt x="3278" y="14963"/>
                    <a:pt x="3278" y="10771"/>
                  </a:cubicBezTo>
                  <a:cubicBezTo>
                    <a:pt x="3278" y="6637"/>
                    <a:pt x="6673" y="3202"/>
                    <a:pt x="10888" y="3202"/>
                  </a:cubicBezTo>
                  <a:cubicBezTo>
                    <a:pt x="14459" y="3202"/>
                    <a:pt x="17502" y="5647"/>
                    <a:pt x="18322" y="8908"/>
                  </a:cubicBezTo>
                  <a:cubicBezTo>
                    <a:pt x="10244" y="8908"/>
                    <a:pt x="10244" y="8908"/>
                    <a:pt x="10244" y="8908"/>
                  </a:cubicBezTo>
                  <a:cubicBezTo>
                    <a:pt x="10244" y="12168"/>
                    <a:pt x="10244" y="12168"/>
                    <a:pt x="10244" y="12168"/>
                  </a:cubicBezTo>
                  <a:cubicBezTo>
                    <a:pt x="21600" y="12168"/>
                    <a:pt x="21600" y="12168"/>
                    <a:pt x="21600" y="12168"/>
                  </a:cubicBezTo>
                  <a:lnTo>
                    <a:pt x="21600" y="8908"/>
                  </a:lnTo>
                  <a:close/>
                </a:path>
              </a:pathLst>
            </a:custGeom>
            <a:solidFill>
              <a:srgbClr val="FFFFFF"/>
            </a:solidFill>
            <a:ln w="3175" cap="flat">
              <a:noFill/>
              <a:miter lim="400000"/>
            </a:ln>
            <a:effectLst/>
          </p:spPr>
          <p:txBody>
            <a:bodyPr wrap="square" lIns="48000" tIns="48000" rIns="48000" bIns="48000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latin typeface="Arial"/>
                  <a:ea typeface="Arial"/>
                  <a:cs typeface="Arial"/>
                  <a:sym typeface="Arial"/>
                </a:defRPr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80" name="Shape 80"/>
            <p:cNvSpPr/>
            <p:nvPr/>
          </p:nvSpPr>
          <p:spPr>
            <a:xfrm>
              <a:off x="826426" y="81553"/>
              <a:ext cx="245996" cy="2484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8908"/>
                  </a:moveTo>
                  <a:cubicBezTo>
                    <a:pt x="20722" y="3843"/>
                    <a:pt x="16215" y="0"/>
                    <a:pt x="10888" y="0"/>
                  </a:cubicBezTo>
                  <a:cubicBezTo>
                    <a:pt x="4859" y="0"/>
                    <a:pt x="0" y="4832"/>
                    <a:pt x="0" y="10771"/>
                  </a:cubicBezTo>
                  <a:cubicBezTo>
                    <a:pt x="0" y="16768"/>
                    <a:pt x="4859" y="21600"/>
                    <a:pt x="10888" y="21600"/>
                  </a:cubicBezTo>
                  <a:cubicBezTo>
                    <a:pt x="14400" y="21600"/>
                    <a:pt x="17502" y="19970"/>
                    <a:pt x="19493" y="17350"/>
                  </a:cubicBezTo>
                  <a:cubicBezTo>
                    <a:pt x="16917" y="15429"/>
                    <a:pt x="16917" y="15429"/>
                    <a:pt x="16917" y="15429"/>
                  </a:cubicBezTo>
                  <a:cubicBezTo>
                    <a:pt x="15512" y="17233"/>
                    <a:pt x="13346" y="18398"/>
                    <a:pt x="10888" y="18398"/>
                  </a:cubicBezTo>
                  <a:cubicBezTo>
                    <a:pt x="6673" y="18398"/>
                    <a:pt x="3220" y="14963"/>
                    <a:pt x="3220" y="10771"/>
                  </a:cubicBezTo>
                  <a:cubicBezTo>
                    <a:pt x="3220" y="6637"/>
                    <a:pt x="6673" y="3202"/>
                    <a:pt x="10888" y="3202"/>
                  </a:cubicBezTo>
                  <a:cubicBezTo>
                    <a:pt x="14400" y="3202"/>
                    <a:pt x="17444" y="5647"/>
                    <a:pt x="18263" y="8908"/>
                  </a:cubicBezTo>
                  <a:cubicBezTo>
                    <a:pt x="10244" y="8908"/>
                    <a:pt x="10244" y="8908"/>
                    <a:pt x="10244" y="8908"/>
                  </a:cubicBezTo>
                  <a:cubicBezTo>
                    <a:pt x="10244" y="12168"/>
                    <a:pt x="10244" y="12168"/>
                    <a:pt x="10244" y="12168"/>
                  </a:cubicBezTo>
                  <a:cubicBezTo>
                    <a:pt x="21600" y="12168"/>
                    <a:pt x="21600" y="12168"/>
                    <a:pt x="21600" y="12168"/>
                  </a:cubicBezTo>
                  <a:lnTo>
                    <a:pt x="21600" y="8908"/>
                  </a:lnTo>
                  <a:close/>
                </a:path>
              </a:pathLst>
            </a:custGeom>
            <a:solidFill>
              <a:srgbClr val="FFFFFF"/>
            </a:solidFill>
            <a:ln w="3175" cap="flat">
              <a:noFill/>
              <a:miter lim="400000"/>
            </a:ln>
            <a:effectLst/>
          </p:spPr>
          <p:txBody>
            <a:bodyPr wrap="square" lIns="48000" tIns="48000" rIns="48000" bIns="48000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latin typeface="Arial"/>
                  <a:ea typeface="Arial"/>
                  <a:cs typeface="Arial"/>
                  <a:sym typeface="Arial"/>
                </a:defRPr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81" name="Shape 81"/>
            <p:cNvSpPr/>
            <p:nvPr/>
          </p:nvSpPr>
          <p:spPr>
            <a:xfrm>
              <a:off x="283549" y="81553"/>
              <a:ext cx="221996" cy="2444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9054"/>
                  </a:moveTo>
                  <a:cubicBezTo>
                    <a:pt x="21600" y="4024"/>
                    <a:pt x="17059" y="0"/>
                    <a:pt x="11611" y="0"/>
                  </a:cubicBezTo>
                  <a:cubicBezTo>
                    <a:pt x="8432" y="0"/>
                    <a:pt x="5643" y="1124"/>
                    <a:pt x="3568" y="2959"/>
                  </a:cubicBezTo>
                  <a:cubicBezTo>
                    <a:pt x="3568" y="888"/>
                    <a:pt x="3568" y="888"/>
                    <a:pt x="3568" y="888"/>
                  </a:cubicBezTo>
                  <a:cubicBezTo>
                    <a:pt x="0" y="888"/>
                    <a:pt x="0" y="888"/>
                    <a:pt x="0" y="888"/>
                  </a:cubicBezTo>
                  <a:cubicBezTo>
                    <a:pt x="0" y="12368"/>
                    <a:pt x="0" y="12368"/>
                    <a:pt x="0" y="12368"/>
                  </a:cubicBezTo>
                  <a:cubicBezTo>
                    <a:pt x="3568" y="12368"/>
                    <a:pt x="3568" y="12368"/>
                    <a:pt x="3568" y="12368"/>
                  </a:cubicBezTo>
                  <a:cubicBezTo>
                    <a:pt x="3568" y="9646"/>
                    <a:pt x="3568" y="9646"/>
                    <a:pt x="3568" y="9646"/>
                  </a:cubicBezTo>
                  <a:cubicBezTo>
                    <a:pt x="4151" y="6983"/>
                    <a:pt x="6681" y="3255"/>
                    <a:pt x="11611" y="3255"/>
                  </a:cubicBezTo>
                  <a:cubicBezTo>
                    <a:pt x="15114" y="3255"/>
                    <a:pt x="17968" y="5799"/>
                    <a:pt x="17968" y="9054"/>
                  </a:cubicBezTo>
                  <a:cubicBezTo>
                    <a:pt x="17968" y="21600"/>
                    <a:pt x="17968" y="21600"/>
                    <a:pt x="17968" y="21600"/>
                  </a:cubicBezTo>
                  <a:cubicBezTo>
                    <a:pt x="21600" y="21600"/>
                    <a:pt x="21600" y="21600"/>
                    <a:pt x="21600" y="21600"/>
                  </a:cubicBezTo>
                  <a:lnTo>
                    <a:pt x="21600" y="9054"/>
                  </a:lnTo>
                  <a:close/>
                </a:path>
              </a:pathLst>
            </a:custGeom>
            <a:solidFill>
              <a:srgbClr val="FFFFFF"/>
            </a:solidFill>
            <a:ln w="3175" cap="flat">
              <a:noFill/>
              <a:miter lim="400000"/>
            </a:ln>
            <a:effectLst/>
          </p:spPr>
          <p:txBody>
            <a:bodyPr wrap="square" lIns="48000" tIns="48000" rIns="48000" bIns="48000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latin typeface="Arial"/>
                  <a:ea typeface="Arial"/>
                  <a:cs typeface="Arial"/>
                  <a:sym typeface="Arial"/>
                </a:defRPr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82" name="Shape 82"/>
            <p:cNvSpPr/>
            <p:nvPr/>
          </p:nvSpPr>
          <p:spPr>
            <a:xfrm>
              <a:off x="1109087" y="81553"/>
              <a:ext cx="180664" cy="2484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376" y="14206"/>
                  </a:moveTo>
                  <a:cubicBezTo>
                    <a:pt x="17376" y="16535"/>
                    <a:pt x="14347" y="18398"/>
                    <a:pt x="10760" y="18398"/>
                  </a:cubicBezTo>
                  <a:cubicBezTo>
                    <a:pt x="5181" y="18398"/>
                    <a:pt x="4463" y="14497"/>
                    <a:pt x="4463" y="14497"/>
                  </a:cubicBezTo>
                  <a:cubicBezTo>
                    <a:pt x="80" y="15312"/>
                    <a:pt x="80" y="15312"/>
                    <a:pt x="80" y="15312"/>
                  </a:cubicBezTo>
                  <a:cubicBezTo>
                    <a:pt x="80" y="15312"/>
                    <a:pt x="1674" y="21600"/>
                    <a:pt x="10840" y="21600"/>
                  </a:cubicBezTo>
                  <a:cubicBezTo>
                    <a:pt x="17615" y="21600"/>
                    <a:pt x="21600" y="17583"/>
                    <a:pt x="21600" y="13740"/>
                  </a:cubicBezTo>
                  <a:cubicBezTo>
                    <a:pt x="21600" y="12867"/>
                    <a:pt x="21600" y="12576"/>
                    <a:pt x="21441" y="12110"/>
                  </a:cubicBezTo>
                  <a:cubicBezTo>
                    <a:pt x="21361" y="11819"/>
                    <a:pt x="21361" y="11819"/>
                    <a:pt x="21361" y="11819"/>
                  </a:cubicBezTo>
                  <a:cubicBezTo>
                    <a:pt x="4384" y="7278"/>
                    <a:pt x="4384" y="7278"/>
                    <a:pt x="4384" y="7278"/>
                  </a:cubicBezTo>
                  <a:cubicBezTo>
                    <a:pt x="4782" y="5356"/>
                    <a:pt x="7492" y="3202"/>
                    <a:pt x="10601" y="3202"/>
                  </a:cubicBezTo>
                  <a:cubicBezTo>
                    <a:pt x="16419" y="3202"/>
                    <a:pt x="16977" y="6928"/>
                    <a:pt x="16977" y="6928"/>
                  </a:cubicBezTo>
                  <a:cubicBezTo>
                    <a:pt x="21361" y="6171"/>
                    <a:pt x="21361" y="6171"/>
                    <a:pt x="21361" y="6171"/>
                  </a:cubicBezTo>
                  <a:cubicBezTo>
                    <a:pt x="21361" y="6171"/>
                    <a:pt x="19926" y="0"/>
                    <a:pt x="10521" y="0"/>
                  </a:cubicBezTo>
                  <a:cubicBezTo>
                    <a:pt x="4224" y="0"/>
                    <a:pt x="0" y="3901"/>
                    <a:pt x="0" y="7569"/>
                  </a:cubicBezTo>
                  <a:cubicBezTo>
                    <a:pt x="0" y="8442"/>
                    <a:pt x="159" y="9548"/>
                    <a:pt x="159" y="9548"/>
                  </a:cubicBezTo>
                  <a:lnTo>
                    <a:pt x="17376" y="14206"/>
                  </a:lnTo>
                  <a:close/>
                </a:path>
              </a:pathLst>
            </a:custGeom>
            <a:solidFill>
              <a:srgbClr val="FFFFFF"/>
            </a:solidFill>
            <a:ln w="3175" cap="flat">
              <a:noFill/>
              <a:miter lim="400000"/>
            </a:ln>
            <a:effectLst/>
          </p:spPr>
          <p:txBody>
            <a:bodyPr wrap="square" lIns="48000" tIns="48000" rIns="48000" bIns="48000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latin typeface="Arial"/>
                  <a:ea typeface="Arial"/>
                  <a:cs typeface="Arial"/>
                  <a:sym typeface="Arial"/>
                </a:defRPr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83" name="Shape 83"/>
            <p:cNvSpPr/>
            <p:nvPr/>
          </p:nvSpPr>
          <p:spPr>
            <a:xfrm>
              <a:off x="542210" y="-1"/>
              <a:ext cx="247329" cy="3299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340" y="0"/>
                  </a:moveTo>
                  <a:cubicBezTo>
                    <a:pt x="18340" y="7624"/>
                    <a:pt x="18340" y="7624"/>
                    <a:pt x="18340" y="7624"/>
                  </a:cubicBezTo>
                  <a:cubicBezTo>
                    <a:pt x="16418" y="6222"/>
                    <a:pt x="13740" y="5345"/>
                    <a:pt x="10829" y="5345"/>
                  </a:cubicBezTo>
                  <a:cubicBezTo>
                    <a:pt x="4832" y="5345"/>
                    <a:pt x="0" y="8982"/>
                    <a:pt x="0" y="13451"/>
                  </a:cubicBezTo>
                  <a:cubicBezTo>
                    <a:pt x="0" y="17963"/>
                    <a:pt x="4832" y="21600"/>
                    <a:pt x="10829" y="21600"/>
                  </a:cubicBezTo>
                  <a:cubicBezTo>
                    <a:pt x="13042" y="21600"/>
                    <a:pt x="15079" y="21118"/>
                    <a:pt x="16826" y="20242"/>
                  </a:cubicBezTo>
                  <a:cubicBezTo>
                    <a:pt x="15021" y="18226"/>
                    <a:pt x="15021" y="18226"/>
                    <a:pt x="15021" y="18226"/>
                  </a:cubicBezTo>
                  <a:cubicBezTo>
                    <a:pt x="13798" y="18840"/>
                    <a:pt x="12343" y="19190"/>
                    <a:pt x="10829" y="19190"/>
                  </a:cubicBezTo>
                  <a:cubicBezTo>
                    <a:pt x="6637" y="19190"/>
                    <a:pt x="3202" y="16605"/>
                    <a:pt x="3202" y="13451"/>
                  </a:cubicBezTo>
                  <a:cubicBezTo>
                    <a:pt x="3202" y="10340"/>
                    <a:pt x="6637" y="7755"/>
                    <a:pt x="10829" y="7755"/>
                  </a:cubicBezTo>
                  <a:cubicBezTo>
                    <a:pt x="14730" y="7755"/>
                    <a:pt x="17932" y="9989"/>
                    <a:pt x="18340" y="12881"/>
                  </a:cubicBezTo>
                  <a:cubicBezTo>
                    <a:pt x="18340" y="21337"/>
                    <a:pt x="18340" y="21337"/>
                    <a:pt x="18340" y="21337"/>
                  </a:cubicBezTo>
                  <a:cubicBezTo>
                    <a:pt x="21600" y="21337"/>
                    <a:pt x="21600" y="21337"/>
                    <a:pt x="21600" y="21337"/>
                  </a:cubicBezTo>
                  <a:cubicBezTo>
                    <a:pt x="21600" y="0"/>
                    <a:pt x="21600" y="0"/>
                    <a:pt x="21600" y="0"/>
                  </a:cubicBezTo>
                  <a:lnTo>
                    <a:pt x="18340" y="0"/>
                  </a:lnTo>
                  <a:close/>
                </a:path>
              </a:pathLst>
            </a:custGeom>
            <a:solidFill>
              <a:srgbClr val="FFFFFF"/>
            </a:solidFill>
            <a:ln w="3175" cap="flat">
              <a:noFill/>
              <a:miter lim="400000"/>
            </a:ln>
            <a:effectLst/>
          </p:spPr>
          <p:txBody>
            <a:bodyPr wrap="square" lIns="48000" tIns="48000" rIns="48000" bIns="48000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latin typeface="Arial"/>
                  <a:ea typeface="Arial"/>
                  <a:cs typeface="Arial"/>
                  <a:sym typeface="Arial"/>
                </a:defRPr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84" name="Shape 84"/>
            <p:cNvSpPr/>
            <p:nvPr/>
          </p:nvSpPr>
          <p:spPr>
            <a:xfrm>
              <a:off x="1325305" y="81553"/>
              <a:ext cx="246662" cy="2484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389" y="466"/>
                  </a:moveTo>
                  <a:cubicBezTo>
                    <a:pt x="18389" y="3027"/>
                    <a:pt x="18389" y="3027"/>
                    <a:pt x="18389" y="3027"/>
                  </a:cubicBezTo>
                  <a:cubicBezTo>
                    <a:pt x="16404" y="1164"/>
                    <a:pt x="13777" y="0"/>
                    <a:pt x="10800" y="0"/>
                  </a:cubicBezTo>
                  <a:cubicBezTo>
                    <a:pt x="4845" y="0"/>
                    <a:pt x="0" y="4832"/>
                    <a:pt x="0" y="10771"/>
                  </a:cubicBezTo>
                  <a:cubicBezTo>
                    <a:pt x="0" y="16768"/>
                    <a:pt x="4845" y="21600"/>
                    <a:pt x="10800" y="21600"/>
                  </a:cubicBezTo>
                  <a:cubicBezTo>
                    <a:pt x="13077" y="21600"/>
                    <a:pt x="15120" y="20960"/>
                    <a:pt x="16871" y="19795"/>
                  </a:cubicBezTo>
                  <a:cubicBezTo>
                    <a:pt x="15062" y="17117"/>
                    <a:pt x="15062" y="17117"/>
                    <a:pt x="15062" y="17117"/>
                  </a:cubicBezTo>
                  <a:cubicBezTo>
                    <a:pt x="13836" y="17932"/>
                    <a:pt x="12376" y="18398"/>
                    <a:pt x="10800" y="18398"/>
                  </a:cubicBezTo>
                  <a:cubicBezTo>
                    <a:pt x="6597" y="18398"/>
                    <a:pt x="3211" y="14963"/>
                    <a:pt x="3211" y="10771"/>
                  </a:cubicBezTo>
                  <a:cubicBezTo>
                    <a:pt x="3211" y="6637"/>
                    <a:pt x="6597" y="3202"/>
                    <a:pt x="10800" y="3202"/>
                  </a:cubicBezTo>
                  <a:cubicBezTo>
                    <a:pt x="14770" y="3202"/>
                    <a:pt x="17981" y="6171"/>
                    <a:pt x="18389" y="10014"/>
                  </a:cubicBezTo>
                  <a:cubicBezTo>
                    <a:pt x="18389" y="21251"/>
                    <a:pt x="18389" y="21251"/>
                    <a:pt x="18389" y="21251"/>
                  </a:cubicBezTo>
                  <a:cubicBezTo>
                    <a:pt x="21600" y="21251"/>
                    <a:pt x="21600" y="21251"/>
                    <a:pt x="21600" y="21251"/>
                  </a:cubicBezTo>
                  <a:cubicBezTo>
                    <a:pt x="21600" y="466"/>
                    <a:pt x="21600" y="466"/>
                    <a:pt x="21600" y="466"/>
                  </a:cubicBezTo>
                  <a:lnTo>
                    <a:pt x="18389" y="466"/>
                  </a:lnTo>
                  <a:close/>
                </a:path>
              </a:pathLst>
            </a:custGeom>
            <a:solidFill>
              <a:srgbClr val="FFFFFF"/>
            </a:solidFill>
            <a:ln w="3175" cap="flat">
              <a:noFill/>
              <a:miter lim="400000"/>
            </a:ln>
            <a:effectLst/>
          </p:spPr>
          <p:txBody>
            <a:bodyPr wrap="square" lIns="48000" tIns="48000" rIns="48000" bIns="48000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latin typeface="Arial"/>
                  <a:ea typeface="Arial"/>
                  <a:cs typeface="Arial"/>
                  <a:sym typeface="Arial"/>
                </a:defRPr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86" name="Shape 86"/>
          <p:cNvSpPr>
            <a:spLocks noGrp="1"/>
          </p:cNvSpPr>
          <p:nvPr>
            <p:ph type="sldNum" sz="quarter" idx="2"/>
          </p:nvPr>
        </p:nvSpPr>
        <p:spPr>
          <a:xfrm>
            <a:off x="5923977" y="6540500"/>
            <a:ext cx="337698" cy="253059"/>
          </a:xfrm>
          <a:prstGeom prst="rect">
            <a:avLst/>
          </a:prstGeom>
        </p:spPr>
        <p:txBody>
          <a:bodyPr lIns="33866" tIns="33866" rIns="33866" bIns="33866" anchor="t"/>
          <a:lstStyle>
            <a:lvl1pPr algn="ctr" defTabSz="412750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hangingPunct="0"/>
            <a:fld id="{86CB4B4D-7CA3-9044-876B-883B54F8677D}" type="slidenum">
              <a:rPr lang="es-ES" kern="0" smtClean="0"/>
              <a:pPr hangingPunct="0"/>
              <a:t>‹Nº›</a:t>
            </a:fld>
            <a:endParaRPr lang="es-ES" kern="0"/>
          </a:p>
        </p:txBody>
      </p:sp>
    </p:spTree>
    <p:extLst>
      <p:ext uri="{BB962C8B-B14F-4D97-AF65-F5344CB8AC3E}">
        <p14:creationId xmlns:p14="http://schemas.microsoft.com/office/powerpoint/2010/main" val="2970753207"/>
      </p:ext>
    </p:extLst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ítulo y subtítulo copia 1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Shape 93"/>
          <p:cNvSpPr>
            <a:spLocks noGrp="1"/>
          </p:cNvSpPr>
          <p:nvPr>
            <p:ph type="sldNum" sz="quarter" idx="2"/>
          </p:nvPr>
        </p:nvSpPr>
        <p:spPr>
          <a:xfrm>
            <a:off x="5923977" y="6540500"/>
            <a:ext cx="337698" cy="253059"/>
          </a:xfrm>
          <a:prstGeom prst="rect">
            <a:avLst/>
          </a:prstGeom>
        </p:spPr>
        <p:txBody>
          <a:bodyPr lIns="33866" tIns="33866" rIns="33866" bIns="33866" anchor="t"/>
          <a:lstStyle>
            <a:lvl1pPr algn="ctr" defTabSz="412750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hangingPunct="0"/>
            <a:fld id="{86CB4B4D-7CA3-9044-876B-883B54F8677D}" type="slidenum">
              <a:rPr lang="es-ES" kern="0" smtClean="0"/>
              <a:pPr hangingPunct="0"/>
              <a:t>‹Nº›</a:t>
            </a:fld>
            <a:endParaRPr lang="es-ES" kern="0"/>
          </a:p>
        </p:txBody>
      </p:sp>
    </p:spTree>
    <p:extLst>
      <p:ext uri="{BB962C8B-B14F-4D97-AF65-F5344CB8AC3E}">
        <p14:creationId xmlns:p14="http://schemas.microsoft.com/office/powerpoint/2010/main" val="1628668284"/>
      </p:ext>
    </p:extLst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188384" y="6385027"/>
            <a:ext cx="394017" cy="307775"/>
          </a:xfrm>
          <a:prstGeom prst="rect">
            <a:avLst/>
          </a:prstGeom>
        </p:spPr>
        <p:txBody>
          <a:bodyPr/>
          <a:lstStyle>
            <a:lvl1pPr>
              <a:defRPr lang="es-ES" smtClean="0"/>
            </a:lvl1pPr>
          </a:lstStyle>
          <a:p>
            <a:pPr hangingPunct="0"/>
            <a:fld id="{5FE53D8A-B4D9-41DC-B36A-034F02C2EBB3}" type="slidenum">
              <a:rPr lang="es-ES" kern="0" smtClean="0"/>
              <a:pPr hangingPunct="0"/>
              <a:t>‹Nº›</a:t>
            </a:fld>
            <a:endParaRPr lang="es-ES" kern="0"/>
          </a:p>
        </p:txBody>
      </p:sp>
      <p:pic>
        <p:nvPicPr>
          <p:cNvPr id="3" name="Imagen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1883" y="6356350"/>
            <a:ext cx="652208" cy="365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653864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Header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959784" y="6385026"/>
            <a:ext cx="394017" cy="3077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hangingPunct="0"/>
            <a:fld id="{1ED2235E-0982-3B42-A838-A74550CD4449}" type="slidenum">
              <a:rPr lang="en-GB" kern="0" smtClean="0">
                <a:solidFill>
                  <a:prstClr val="white"/>
                </a:solidFill>
              </a:rPr>
              <a:pPr hangingPunct="0"/>
              <a:t>‹Nº›</a:t>
            </a:fld>
            <a:endParaRPr lang="en-GB" kern="0" dirty="0">
              <a:solidFill>
                <a:prstClr val="white"/>
              </a:solidFill>
            </a:endParaRPr>
          </a:p>
        </p:txBody>
      </p:sp>
      <p:sp>
        <p:nvSpPr>
          <p:cNvPr id="13" name="Title 9"/>
          <p:cNvSpPr>
            <a:spLocks noGrp="1"/>
          </p:cNvSpPr>
          <p:nvPr>
            <p:ph type="title" hasCustomPrompt="1"/>
          </p:nvPr>
        </p:nvSpPr>
        <p:spPr>
          <a:xfrm>
            <a:off x="2375428" y="615088"/>
            <a:ext cx="6003399" cy="3496539"/>
          </a:xfrm>
        </p:spPr>
        <p:txBody>
          <a:bodyPr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</a:t>
            </a:r>
            <a:br>
              <a:rPr lang="en-GB" dirty="0" smtClean="0"/>
            </a:br>
            <a:r>
              <a:rPr lang="en-GB" dirty="0" smtClean="0"/>
              <a:t>Master title style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137525" y="141701"/>
            <a:ext cx="1901985" cy="65955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0" marR="0" lvl="0" indent="0" algn="ctr" defTabSz="410765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 Light"/>
              <a:sym typeface="Helvetica Light"/>
            </a:endParaRPr>
          </a:p>
        </p:txBody>
      </p:sp>
      <p:grpSp>
        <p:nvGrpSpPr>
          <p:cNvPr id="11" name="Group 5"/>
          <p:cNvGrpSpPr>
            <a:grpSpLocks noChangeAspect="1"/>
          </p:cNvGrpSpPr>
          <p:nvPr userDrawn="1"/>
        </p:nvGrpSpPr>
        <p:grpSpPr bwMode="auto">
          <a:xfrm>
            <a:off x="9550932" y="689734"/>
            <a:ext cx="1872112" cy="393001"/>
            <a:chOff x="-3303" y="-29"/>
            <a:chExt cx="7074" cy="1485"/>
          </a:xfrm>
          <a:solidFill>
            <a:schemeClr val="bg1"/>
          </a:solidFill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-3303" y="338"/>
              <a:ext cx="1107" cy="1118"/>
            </a:xfrm>
            <a:custGeom>
              <a:avLst/>
              <a:gdLst/>
              <a:ahLst/>
              <a:cxnLst>
                <a:cxn ang="0">
                  <a:pos x="369" y="153"/>
                </a:cxn>
                <a:cxn ang="0">
                  <a:pos x="186" y="0"/>
                </a:cxn>
                <a:cxn ang="0">
                  <a:pos x="0" y="185"/>
                </a:cxn>
                <a:cxn ang="0">
                  <a:pos x="186" y="371"/>
                </a:cxn>
                <a:cxn ang="0">
                  <a:pos x="333" y="298"/>
                </a:cxn>
                <a:cxn ang="0">
                  <a:pos x="289" y="265"/>
                </a:cxn>
                <a:cxn ang="0">
                  <a:pos x="186" y="316"/>
                </a:cxn>
                <a:cxn ang="0">
                  <a:pos x="56" y="185"/>
                </a:cxn>
                <a:cxn ang="0">
                  <a:pos x="186" y="55"/>
                </a:cxn>
                <a:cxn ang="0">
                  <a:pos x="313" y="153"/>
                </a:cxn>
                <a:cxn ang="0">
                  <a:pos x="175" y="153"/>
                </a:cxn>
                <a:cxn ang="0">
                  <a:pos x="175" y="209"/>
                </a:cxn>
                <a:cxn ang="0">
                  <a:pos x="369" y="209"/>
                </a:cxn>
                <a:cxn ang="0">
                  <a:pos x="369" y="153"/>
                </a:cxn>
              </a:cxnLst>
              <a:rect l="0" t="0" r="r" b="b"/>
              <a:pathLst>
                <a:path w="369" h="371">
                  <a:moveTo>
                    <a:pt x="369" y="153"/>
                  </a:moveTo>
                  <a:cubicBezTo>
                    <a:pt x="354" y="66"/>
                    <a:pt x="278" y="0"/>
                    <a:pt x="186" y="0"/>
                  </a:cubicBezTo>
                  <a:cubicBezTo>
                    <a:pt x="84" y="0"/>
                    <a:pt x="0" y="83"/>
                    <a:pt x="0" y="185"/>
                  </a:cubicBezTo>
                  <a:cubicBezTo>
                    <a:pt x="0" y="288"/>
                    <a:pt x="84" y="371"/>
                    <a:pt x="186" y="371"/>
                  </a:cubicBezTo>
                  <a:cubicBezTo>
                    <a:pt x="246" y="371"/>
                    <a:pt x="299" y="343"/>
                    <a:pt x="333" y="298"/>
                  </a:cubicBezTo>
                  <a:cubicBezTo>
                    <a:pt x="289" y="265"/>
                    <a:pt x="289" y="265"/>
                    <a:pt x="289" y="265"/>
                  </a:cubicBezTo>
                  <a:cubicBezTo>
                    <a:pt x="266" y="296"/>
                    <a:pt x="228" y="316"/>
                    <a:pt x="186" y="316"/>
                  </a:cubicBezTo>
                  <a:cubicBezTo>
                    <a:pt x="114" y="316"/>
                    <a:pt x="56" y="257"/>
                    <a:pt x="56" y="185"/>
                  </a:cubicBezTo>
                  <a:cubicBezTo>
                    <a:pt x="56" y="114"/>
                    <a:pt x="114" y="55"/>
                    <a:pt x="186" y="55"/>
                  </a:cubicBezTo>
                  <a:cubicBezTo>
                    <a:pt x="247" y="55"/>
                    <a:pt x="299" y="97"/>
                    <a:pt x="313" y="153"/>
                  </a:cubicBezTo>
                  <a:cubicBezTo>
                    <a:pt x="175" y="153"/>
                    <a:pt x="175" y="153"/>
                    <a:pt x="175" y="153"/>
                  </a:cubicBezTo>
                  <a:cubicBezTo>
                    <a:pt x="175" y="209"/>
                    <a:pt x="175" y="209"/>
                    <a:pt x="175" y="209"/>
                  </a:cubicBezTo>
                  <a:cubicBezTo>
                    <a:pt x="369" y="209"/>
                    <a:pt x="369" y="209"/>
                    <a:pt x="369" y="209"/>
                  </a:cubicBezTo>
                  <a:lnTo>
                    <a:pt x="369" y="15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10765" rtl="0" eaLnBrk="1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" charset="0"/>
                <a:cs typeface="Arial" charset="0"/>
                <a:sym typeface="Helvetica Light"/>
              </a:endParaRPr>
            </a:p>
          </p:txBody>
        </p:sp>
        <p:sp>
          <p:nvSpPr>
            <p:cNvPr id="14" name="Freeform 7"/>
            <p:cNvSpPr>
              <a:spLocks/>
            </p:cNvSpPr>
            <p:nvPr/>
          </p:nvSpPr>
          <p:spPr bwMode="auto">
            <a:xfrm>
              <a:off x="416" y="338"/>
              <a:ext cx="1107" cy="1118"/>
            </a:xfrm>
            <a:custGeom>
              <a:avLst/>
              <a:gdLst/>
              <a:ahLst/>
              <a:cxnLst>
                <a:cxn ang="0">
                  <a:pos x="369" y="153"/>
                </a:cxn>
                <a:cxn ang="0">
                  <a:pos x="186" y="0"/>
                </a:cxn>
                <a:cxn ang="0">
                  <a:pos x="0" y="185"/>
                </a:cxn>
                <a:cxn ang="0">
                  <a:pos x="186" y="371"/>
                </a:cxn>
                <a:cxn ang="0">
                  <a:pos x="333" y="298"/>
                </a:cxn>
                <a:cxn ang="0">
                  <a:pos x="289" y="265"/>
                </a:cxn>
                <a:cxn ang="0">
                  <a:pos x="186" y="316"/>
                </a:cxn>
                <a:cxn ang="0">
                  <a:pos x="55" y="185"/>
                </a:cxn>
                <a:cxn ang="0">
                  <a:pos x="186" y="55"/>
                </a:cxn>
                <a:cxn ang="0">
                  <a:pos x="312" y="153"/>
                </a:cxn>
                <a:cxn ang="0">
                  <a:pos x="175" y="153"/>
                </a:cxn>
                <a:cxn ang="0">
                  <a:pos x="175" y="209"/>
                </a:cxn>
                <a:cxn ang="0">
                  <a:pos x="369" y="209"/>
                </a:cxn>
                <a:cxn ang="0">
                  <a:pos x="369" y="153"/>
                </a:cxn>
              </a:cxnLst>
              <a:rect l="0" t="0" r="r" b="b"/>
              <a:pathLst>
                <a:path w="369" h="371">
                  <a:moveTo>
                    <a:pt x="369" y="153"/>
                  </a:moveTo>
                  <a:cubicBezTo>
                    <a:pt x="354" y="66"/>
                    <a:pt x="277" y="0"/>
                    <a:pt x="186" y="0"/>
                  </a:cubicBezTo>
                  <a:cubicBezTo>
                    <a:pt x="83" y="0"/>
                    <a:pt x="0" y="83"/>
                    <a:pt x="0" y="185"/>
                  </a:cubicBezTo>
                  <a:cubicBezTo>
                    <a:pt x="0" y="288"/>
                    <a:pt x="83" y="371"/>
                    <a:pt x="186" y="371"/>
                  </a:cubicBezTo>
                  <a:cubicBezTo>
                    <a:pt x="246" y="371"/>
                    <a:pt x="299" y="343"/>
                    <a:pt x="333" y="298"/>
                  </a:cubicBezTo>
                  <a:cubicBezTo>
                    <a:pt x="289" y="265"/>
                    <a:pt x="289" y="265"/>
                    <a:pt x="289" y="265"/>
                  </a:cubicBezTo>
                  <a:cubicBezTo>
                    <a:pt x="265" y="296"/>
                    <a:pt x="228" y="316"/>
                    <a:pt x="186" y="316"/>
                  </a:cubicBezTo>
                  <a:cubicBezTo>
                    <a:pt x="114" y="316"/>
                    <a:pt x="55" y="257"/>
                    <a:pt x="55" y="185"/>
                  </a:cubicBezTo>
                  <a:cubicBezTo>
                    <a:pt x="55" y="114"/>
                    <a:pt x="114" y="55"/>
                    <a:pt x="186" y="55"/>
                  </a:cubicBezTo>
                  <a:cubicBezTo>
                    <a:pt x="246" y="55"/>
                    <a:pt x="298" y="97"/>
                    <a:pt x="312" y="153"/>
                  </a:cubicBezTo>
                  <a:cubicBezTo>
                    <a:pt x="175" y="153"/>
                    <a:pt x="175" y="153"/>
                    <a:pt x="175" y="153"/>
                  </a:cubicBezTo>
                  <a:cubicBezTo>
                    <a:pt x="175" y="209"/>
                    <a:pt x="175" y="209"/>
                    <a:pt x="175" y="209"/>
                  </a:cubicBezTo>
                  <a:cubicBezTo>
                    <a:pt x="369" y="209"/>
                    <a:pt x="369" y="209"/>
                    <a:pt x="369" y="209"/>
                  </a:cubicBezTo>
                  <a:lnTo>
                    <a:pt x="369" y="15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10765" rtl="0" eaLnBrk="1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" charset="0"/>
                <a:cs typeface="Arial" charset="0"/>
                <a:sym typeface="Helvetica Light"/>
              </a:endParaRPr>
            </a:p>
          </p:txBody>
        </p:sp>
        <p:sp>
          <p:nvSpPr>
            <p:cNvPr id="15" name="Freeform 8"/>
            <p:cNvSpPr>
              <a:spLocks noChangeAspect="1"/>
            </p:cNvSpPr>
            <p:nvPr/>
          </p:nvSpPr>
          <p:spPr bwMode="auto">
            <a:xfrm>
              <a:off x="-2027" y="338"/>
              <a:ext cx="999" cy="1100"/>
            </a:xfrm>
            <a:custGeom>
              <a:avLst/>
              <a:gdLst/>
              <a:ahLst/>
              <a:cxnLst>
                <a:cxn ang="0">
                  <a:pos x="333" y="153"/>
                </a:cxn>
                <a:cxn ang="0">
                  <a:pos x="179" y="0"/>
                </a:cxn>
                <a:cxn ang="0">
                  <a:pos x="55" y="50"/>
                </a:cxn>
                <a:cxn ang="0">
                  <a:pos x="55" y="15"/>
                </a:cxn>
                <a:cxn ang="0">
                  <a:pos x="0" y="15"/>
                </a:cxn>
                <a:cxn ang="0">
                  <a:pos x="0" y="209"/>
                </a:cxn>
                <a:cxn ang="0">
                  <a:pos x="55" y="209"/>
                </a:cxn>
                <a:cxn ang="0">
                  <a:pos x="55" y="163"/>
                </a:cxn>
                <a:cxn ang="0">
                  <a:pos x="179" y="55"/>
                </a:cxn>
                <a:cxn ang="0">
                  <a:pos x="277" y="153"/>
                </a:cxn>
                <a:cxn ang="0">
                  <a:pos x="277" y="365"/>
                </a:cxn>
                <a:cxn ang="0">
                  <a:pos x="333" y="365"/>
                </a:cxn>
                <a:cxn ang="0">
                  <a:pos x="333" y="153"/>
                </a:cxn>
              </a:cxnLst>
              <a:rect l="0" t="0" r="r" b="b"/>
              <a:pathLst>
                <a:path w="333" h="365">
                  <a:moveTo>
                    <a:pt x="333" y="153"/>
                  </a:moveTo>
                  <a:cubicBezTo>
                    <a:pt x="333" y="68"/>
                    <a:pt x="263" y="0"/>
                    <a:pt x="179" y="0"/>
                  </a:cubicBezTo>
                  <a:cubicBezTo>
                    <a:pt x="130" y="0"/>
                    <a:pt x="87" y="19"/>
                    <a:pt x="55" y="50"/>
                  </a:cubicBezTo>
                  <a:cubicBezTo>
                    <a:pt x="55" y="15"/>
                    <a:pt x="55" y="15"/>
                    <a:pt x="55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55" y="209"/>
                    <a:pt x="55" y="209"/>
                    <a:pt x="55" y="209"/>
                  </a:cubicBezTo>
                  <a:cubicBezTo>
                    <a:pt x="55" y="163"/>
                    <a:pt x="55" y="163"/>
                    <a:pt x="55" y="163"/>
                  </a:cubicBezTo>
                  <a:cubicBezTo>
                    <a:pt x="64" y="118"/>
                    <a:pt x="103" y="55"/>
                    <a:pt x="179" y="55"/>
                  </a:cubicBezTo>
                  <a:cubicBezTo>
                    <a:pt x="233" y="55"/>
                    <a:pt x="277" y="98"/>
                    <a:pt x="277" y="153"/>
                  </a:cubicBezTo>
                  <a:cubicBezTo>
                    <a:pt x="277" y="365"/>
                    <a:pt x="277" y="365"/>
                    <a:pt x="277" y="365"/>
                  </a:cubicBezTo>
                  <a:cubicBezTo>
                    <a:pt x="333" y="365"/>
                    <a:pt x="333" y="365"/>
                    <a:pt x="333" y="365"/>
                  </a:cubicBezTo>
                  <a:lnTo>
                    <a:pt x="333" y="15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10765" rtl="0" eaLnBrk="1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" charset="0"/>
                <a:cs typeface="Arial" charset="0"/>
                <a:sym typeface="Helvetica Light"/>
              </a:endParaRPr>
            </a:p>
          </p:txBody>
        </p:sp>
        <p:sp>
          <p:nvSpPr>
            <p:cNvPr id="16" name="Freeform 9"/>
            <p:cNvSpPr>
              <a:spLocks/>
            </p:cNvSpPr>
            <p:nvPr/>
          </p:nvSpPr>
          <p:spPr bwMode="auto">
            <a:xfrm>
              <a:off x="1688" y="338"/>
              <a:ext cx="813" cy="1118"/>
            </a:xfrm>
            <a:custGeom>
              <a:avLst/>
              <a:gdLst/>
              <a:ahLst/>
              <a:cxnLst>
                <a:cxn ang="0">
                  <a:pos x="218" y="244"/>
                </a:cxn>
                <a:cxn ang="0">
                  <a:pos x="135" y="316"/>
                </a:cxn>
                <a:cxn ang="0">
                  <a:pos x="56" y="249"/>
                </a:cxn>
                <a:cxn ang="0">
                  <a:pos x="1" y="263"/>
                </a:cxn>
                <a:cxn ang="0">
                  <a:pos x="136" y="371"/>
                </a:cxn>
                <a:cxn ang="0">
                  <a:pos x="271" y="236"/>
                </a:cxn>
                <a:cxn ang="0">
                  <a:pos x="269" y="208"/>
                </a:cxn>
                <a:cxn ang="0">
                  <a:pos x="268" y="203"/>
                </a:cxn>
                <a:cxn ang="0">
                  <a:pos x="55" y="125"/>
                </a:cxn>
                <a:cxn ang="0">
                  <a:pos x="133" y="55"/>
                </a:cxn>
                <a:cxn ang="0">
                  <a:pos x="213" y="119"/>
                </a:cxn>
                <a:cxn ang="0">
                  <a:pos x="268" y="106"/>
                </a:cxn>
                <a:cxn ang="0">
                  <a:pos x="132" y="0"/>
                </a:cxn>
                <a:cxn ang="0">
                  <a:pos x="0" y="130"/>
                </a:cxn>
                <a:cxn ang="0">
                  <a:pos x="2" y="164"/>
                </a:cxn>
                <a:cxn ang="0">
                  <a:pos x="218" y="244"/>
                </a:cxn>
              </a:cxnLst>
              <a:rect l="0" t="0" r="r" b="b"/>
              <a:pathLst>
                <a:path w="271" h="371">
                  <a:moveTo>
                    <a:pt x="218" y="244"/>
                  </a:moveTo>
                  <a:cubicBezTo>
                    <a:pt x="218" y="284"/>
                    <a:pt x="180" y="316"/>
                    <a:pt x="135" y="316"/>
                  </a:cubicBezTo>
                  <a:cubicBezTo>
                    <a:pt x="65" y="316"/>
                    <a:pt x="56" y="249"/>
                    <a:pt x="56" y="249"/>
                  </a:cubicBezTo>
                  <a:cubicBezTo>
                    <a:pt x="1" y="263"/>
                    <a:pt x="1" y="263"/>
                    <a:pt x="1" y="263"/>
                  </a:cubicBezTo>
                  <a:cubicBezTo>
                    <a:pt x="1" y="263"/>
                    <a:pt x="21" y="371"/>
                    <a:pt x="136" y="371"/>
                  </a:cubicBezTo>
                  <a:cubicBezTo>
                    <a:pt x="221" y="371"/>
                    <a:pt x="271" y="302"/>
                    <a:pt x="271" y="236"/>
                  </a:cubicBezTo>
                  <a:cubicBezTo>
                    <a:pt x="271" y="221"/>
                    <a:pt x="271" y="216"/>
                    <a:pt x="269" y="208"/>
                  </a:cubicBezTo>
                  <a:cubicBezTo>
                    <a:pt x="268" y="203"/>
                    <a:pt x="268" y="203"/>
                    <a:pt x="268" y="203"/>
                  </a:cubicBezTo>
                  <a:cubicBezTo>
                    <a:pt x="55" y="125"/>
                    <a:pt x="55" y="125"/>
                    <a:pt x="55" y="125"/>
                  </a:cubicBezTo>
                  <a:cubicBezTo>
                    <a:pt x="60" y="92"/>
                    <a:pt x="94" y="55"/>
                    <a:pt x="133" y="55"/>
                  </a:cubicBezTo>
                  <a:cubicBezTo>
                    <a:pt x="206" y="55"/>
                    <a:pt x="213" y="119"/>
                    <a:pt x="213" y="119"/>
                  </a:cubicBezTo>
                  <a:cubicBezTo>
                    <a:pt x="268" y="106"/>
                    <a:pt x="268" y="106"/>
                    <a:pt x="268" y="106"/>
                  </a:cubicBezTo>
                  <a:cubicBezTo>
                    <a:pt x="268" y="106"/>
                    <a:pt x="250" y="0"/>
                    <a:pt x="132" y="0"/>
                  </a:cubicBezTo>
                  <a:cubicBezTo>
                    <a:pt x="53" y="0"/>
                    <a:pt x="0" y="67"/>
                    <a:pt x="0" y="130"/>
                  </a:cubicBezTo>
                  <a:cubicBezTo>
                    <a:pt x="0" y="145"/>
                    <a:pt x="2" y="164"/>
                    <a:pt x="2" y="164"/>
                  </a:cubicBezTo>
                  <a:lnTo>
                    <a:pt x="218" y="24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10765" rtl="0" eaLnBrk="1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" charset="0"/>
                <a:cs typeface="Arial" charset="0"/>
                <a:sym typeface="Helvetica Light"/>
              </a:endParaRPr>
            </a:p>
          </p:txBody>
        </p:sp>
        <p:sp>
          <p:nvSpPr>
            <p:cNvPr id="18" name="Freeform 10"/>
            <p:cNvSpPr>
              <a:spLocks/>
            </p:cNvSpPr>
            <p:nvPr/>
          </p:nvSpPr>
          <p:spPr bwMode="auto">
            <a:xfrm>
              <a:off x="-863" y="-29"/>
              <a:ext cx="1113" cy="1485"/>
            </a:xfrm>
            <a:custGeom>
              <a:avLst/>
              <a:gdLst/>
              <a:ahLst/>
              <a:cxnLst>
                <a:cxn ang="0">
                  <a:pos x="315" y="0"/>
                </a:cxn>
                <a:cxn ang="0">
                  <a:pos x="315" y="174"/>
                </a:cxn>
                <a:cxn ang="0">
                  <a:pos x="186" y="122"/>
                </a:cxn>
                <a:cxn ang="0">
                  <a:pos x="0" y="307"/>
                </a:cxn>
                <a:cxn ang="0">
                  <a:pos x="186" y="493"/>
                </a:cxn>
                <a:cxn ang="0">
                  <a:pos x="289" y="462"/>
                </a:cxn>
                <a:cxn ang="0">
                  <a:pos x="258" y="416"/>
                </a:cxn>
                <a:cxn ang="0">
                  <a:pos x="186" y="438"/>
                </a:cxn>
                <a:cxn ang="0">
                  <a:pos x="55" y="307"/>
                </a:cxn>
                <a:cxn ang="0">
                  <a:pos x="186" y="177"/>
                </a:cxn>
                <a:cxn ang="0">
                  <a:pos x="315" y="294"/>
                </a:cxn>
                <a:cxn ang="0">
                  <a:pos x="315" y="487"/>
                </a:cxn>
                <a:cxn ang="0">
                  <a:pos x="371" y="487"/>
                </a:cxn>
                <a:cxn ang="0">
                  <a:pos x="371" y="0"/>
                </a:cxn>
                <a:cxn ang="0">
                  <a:pos x="315" y="0"/>
                </a:cxn>
              </a:cxnLst>
              <a:rect l="0" t="0" r="r" b="b"/>
              <a:pathLst>
                <a:path w="371" h="493">
                  <a:moveTo>
                    <a:pt x="315" y="0"/>
                  </a:moveTo>
                  <a:cubicBezTo>
                    <a:pt x="315" y="174"/>
                    <a:pt x="315" y="174"/>
                    <a:pt x="315" y="174"/>
                  </a:cubicBezTo>
                  <a:cubicBezTo>
                    <a:pt x="282" y="142"/>
                    <a:pt x="236" y="122"/>
                    <a:pt x="186" y="122"/>
                  </a:cubicBezTo>
                  <a:cubicBezTo>
                    <a:pt x="83" y="122"/>
                    <a:pt x="0" y="205"/>
                    <a:pt x="0" y="307"/>
                  </a:cubicBezTo>
                  <a:cubicBezTo>
                    <a:pt x="0" y="410"/>
                    <a:pt x="83" y="493"/>
                    <a:pt x="186" y="493"/>
                  </a:cubicBezTo>
                  <a:cubicBezTo>
                    <a:pt x="224" y="493"/>
                    <a:pt x="259" y="482"/>
                    <a:pt x="289" y="462"/>
                  </a:cubicBezTo>
                  <a:cubicBezTo>
                    <a:pt x="258" y="416"/>
                    <a:pt x="258" y="416"/>
                    <a:pt x="258" y="416"/>
                  </a:cubicBezTo>
                  <a:cubicBezTo>
                    <a:pt x="237" y="430"/>
                    <a:pt x="212" y="438"/>
                    <a:pt x="186" y="438"/>
                  </a:cubicBezTo>
                  <a:cubicBezTo>
                    <a:pt x="114" y="438"/>
                    <a:pt x="55" y="379"/>
                    <a:pt x="55" y="307"/>
                  </a:cubicBezTo>
                  <a:cubicBezTo>
                    <a:pt x="55" y="236"/>
                    <a:pt x="114" y="177"/>
                    <a:pt x="186" y="177"/>
                  </a:cubicBezTo>
                  <a:cubicBezTo>
                    <a:pt x="253" y="177"/>
                    <a:pt x="308" y="228"/>
                    <a:pt x="315" y="294"/>
                  </a:cubicBezTo>
                  <a:cubicBezTo>
                    <a:pt x="315" y="487"/>
                    <a:pt x="315" y="487"/>
                    <a:pt x="315" y="487"/>
                  </a:cubicBezTo>
                  <a:cubicBezTo>
                    <a:pt x="371" y="487"/>
                    <a:pt x="371" y="487"/>
                    <a:pt x="371" y="487"/>
                  </a:cubicBezTo>
                  <a:cubicBezTo>
                    <a:pt x="371" y="0"/>
                    <a:pt x="371" y="0"/>
                    <a:pt x="371" y="0"/>
                  </a:cubicBezTo>
                  <a:lnTo>
                    <a:pt x="31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10765" rtl="0" eaLnBrk="1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" charset="0"/>
                <a:cs typeface="Arial" charset="0"/>
                <a:sym typeface="Helvetica Light"/>
              </a:endParaRPr>
            </a:p>
          </p:txBody>
        </p:sp>
        <p:sp>
          <p:nvSpPr>
            <p:cNvPr id="19" name="Freeform 11"/>
            <p:cNvSpPr>
              <a:spLocks/>
            </p:cNvSpPr>
            <p:nvPr/>
          </p:nvSpPr>
          <p:spPr bwMode="auto">
            <a:xfrm>
              <a:off x="2661" y="338"/>
              <a:ext cx="1110" cy="1118"/>
            </a:xfrm>
            <a:custGeom>
              <a:avLst/>
              <a:gdLst/>
              <a:ahLst/>
              <a:cxnLst>
                <a:cxn ang="0">
                  <a:pos x="315" y="8"/>
                </a:cxn>
                <a:cxn ang="0">
                  <a:pos x="315" y="52"/>
                </a:cxn>
                <a:cxn ang="0">
                  <a:pos x="185" y="0"/>
                </a:cxn>
                <a:cxn ang="0">
                  <a:pos x="0" y="185"/>
                </a:cxn>
                <a:cxn ang="0">
                  <a:pos x="185" y="371"/>
                </a:cxn>
                <a:cxn ang="0">
                  <a:pos x="289" y="340"/>
                </a:cxn>
                <a:cxn ang="0">
                  <a:pos x="258" y="294"/>
                </a:cxn>
                <a:cxn ang="0">
                  <a:pos x="185" y="316"/>
                </a:cxn>
                <a:cxn ang="0">
                  <a:pos x="55" y="185"/>
                </a:cxn>
                <a:cxn ang="0">
                  <a:pos x="185" y="55"/>
                </a:cxn>
                <a:cxn ang="0">
                  <a:pos x="315" y="172"/>
                </a:cxn>
                <a:cxn ang="0">
                  <a:pos x="315" y="365"/>
                </a:cxn>
                <a:cxn ang="0">
                  <a:pos x="370" y="365"/>
                </a:cxn>
                <a:cxn ang="0">
                  <a:pos x="370" y="8"/>
                </a:cxn>
                <a:cxn ang="0">
                  <a:pos x="315" y="8"/>
                </a:cxn>
              </a:cxnLst>
              <a:rect l="0" t="0" r="r" b="b"/>
              <a:pathLst>
                <a:path w="370" h="371">
                  <a:moveTo>
                    <a:pt x="315" y="8"/>
                  </a:moveTo>
                  <a:cubicBezTo>
                    <a:pt x="315" y="52"/>
                    <a:pt x="315" y="52"/>
                    <a:pt x="315" y="52"/>
                  </a:cubicBezTo>
                  <a:cubicBezTo>
                    <a:pt x="281" y="20"/>
                    <a:pt x="236" y="0"/>
                    <a:pt x="185" y="0"/>
                  </a:cubicBezTo>
                  <a:cubicBezTo>
                    <a:pt x="83" y="0"/>
                    <a:pt x="0" y="83"/>
                    <a:pt x="0" y="185"/>
                  </a:cubicBezTo>
                  <a:cubicBezTo>
                    <a:pt x="0" y="288"/>
                    <a:pt x="83" y="371"/>
                    <a:pt x="185" y="371"/>
                  </a:cubicBezTo>
                  <a:cubicBezTo>
                    <a:pt x="224" y="371"/>
                    <a:pt x="259" y="360"/>
                    <a:pt x="289" y="340"/>
                  </a:cubicBezTo>
                  <a:cubicBezTo>
                    <a:pt x="258" y="294"/>
                    <a:pt x="258" y="294"/>
                    <a:pt x="258" y="294"/>
                  </a:cubicBezTo>
                  <a:cubicBezTo>
                    <a:pt x="237" y="308"/>
                    <a:pt x="212" y="316"/>
                    <a:pt x="185" y="316"/>
                  </a:cubicBezTo>
                  <a:cubicBezTo>
                    <a:pt x="113" y="316"/>
                    <a:pt x="55" y="257"/>
                    <a:pt x="55" y="185"/>
                  </a:cubicBezTo>
                  <a:cubicBezTo>
                    <a:pt x="55" y="114"/>
                    <a:pt x="113" y="55"/>
                    <a:pt x="185" y="55"/>
                  </a:cubicBezTo>
                  <a:cubicBezTo>
                    <a:pt x="253" y="55"/>
                    <a:pt x="308" y="106"/>
                    <a:pt x="315" y="172"/>
                  </a:cubicBezTo>
                  <a:cubicBezTo>
                    <a:pt x="315" y="365"/>
                    <a:pt x="315" y="365"/>
                    <a:pt x="315" y="365"/>
                  </a:cubicBezTo>
                  <a:cubicBezTo>
                    <a:pt x="370" y="365"/>
                    <a:pt x="370" y="365"/>
                    <a:pt x="370" y="365"/>
                  </a:cubicBezTo>
                  <a:cubicBezTo>
                    <a:pt x="370" y="8"/>
                    <a:pt x="370" y="8"/>
                    <a:pt x="370" y="8"/>
                  </a:cubicBezTo>
                  <a:lnTo>
                    <a:pt x="315" y="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10765" rtl="0" eaLnBrk="1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" charset="0"/>
                <a:cs typeface="Arial" charset="0"/>
                <a:sym typeface="Helvetica Light"/>
              </a:endParaRPr>
            </a:p>
          </p:txBody>
        </p:sp>
      </p:grpSp>
      <p:sp>
        <p:nvSpPr>
          <p:cNvPr id="2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82827" y="6264005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pPr defTabSz="410765" hangingPunct="0"/>
            <a:r>
              <a:rPr lang="en-GB" kern="0" smtClean="0">
                <a:solidFill>
                  <a:prstClr val="white"/>
                </a:solidFill>
                <a:sym typeface="Helvetica Light"/>
              </a:rPr>
              <a:t>Presentation footer 10PT. Please add the relevant country to the footer.</a:t>
            </a:r>
            <a:endParaRPr lang="en-GB" kern="0" dirty="0">
              <a:solidFill>
                <a:prstClr val="white"/>
              </a:solidFill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54059579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pPr algn="ctr" defTabSz="410765" hangingPunct="0"/>
            <a:fld id="{DFB5A2FC-F01D-4334-B405-876FBDB2F17B}" type="datetime1">
              <a:rPr lang="en-GB" sz="2400" kern="0" smtClean="0">
                <a:solidFill>
                  <a:srgbClr val="000000"/>
                </a:solidFill>
                <a:sym typeface="Helvetica Light"/>
              </a:rPr>
              <a:pPr algn="ctr" defTabSz="410765" hangingPunct="0"/>
              <a:t>15/06/2018</a:t>
            </a:fld>
            <a:endParaRPr lang="en-GB" sz="2400" kern="0" dirty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pPr algn="ctr" defTabSz="410765" hangingPunct="0"/>
            <a:r>
              <a:rPr lang="en-GB" sz="2400" kern="0" smtClean="0">
                <a:solidFill>
                  <a:srgbClr val="000000"/>
                </a:solidFill>
                <a:sym typeface="Helvetica Light"/>
              </a:rPr>
              <a:t>Presentation footer 10PT. Please add the relevant country to the footer.</a:t>
            </a:r>
            <a:endParaRPr lang="en-GB" sz="2400" kern="0" dirty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959784" y="6385026"/>
            <a:ext cx="394017" cy="307775"/>
          </a:xfrm>
        </p:spPr>
        <p:txBody>
          <a:bodyPr/>
          <a:lstStyle/>
          <a:p>
            <a:pPr hangingPunct="0"/>
            <a:fld id="{1ED2235E-0982-3B42-A838-A74550CD4449}" type="slidenum">
              <a:rPr lang="en-GB" kern="0" smtClean="0"/>
              <a:pPr hangingPunct="0"/>
              <a:t>‹Nº›</a:t>
            </a:fld>
            <a:endParaRPr lang="en-GB" kern="0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085366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511350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1999" y="2057399"/>
            <a:ext cx="5334001" cy="4108451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5999" y="2057399"/>
            <a:ext cx="5330825" cy="4108451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844E56-7291-44C4-8C4B-7A50811336DB}" type="datetime1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C6C6C6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/06/2018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C6C6C6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6C6C6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sentation footer 10PT. Please add the relevant country to the footer.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C6C6C6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D2235E-0982-3B42-A838-A74550CD4449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C6C6C6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C6C6C6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10993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2" y="1723878"/>
            <a:ext cx="7616824" cy="1368425"/>
          </a:xfrm>
        </p:spPr>
        <p:txBody>
          <a:bodyPr anchor="t">
            <a:noAutofit/>
          </a:bodyPr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2826" y="3429008"/>
            <a:ext cx="6109388" cy="27699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s-ES" smtClean="0"/>
              <a:t>Haga clic para modificar el estilo de subtítulo del patrón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5520" y="3429008"/>
            <a:ext cx="1510613" cy="276999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1800">
                <a:solidFill>
                  <a:schemeClr val="tx1"/>
                </a:solidFill>
              </a:defRPr>
            </a:lvl1pPr>
          </a:lstStyle>
          <a:p>
            <a:pPr algn="ctr" defTabSz="410765" hangingPunct="0"/>
            <a:fld id="{8B377B34-6D7B-4E8C-BE0C-57CEA27E5C89}" type="datetime1">
              <a:rPr lang="en-GB" kern="0" smtClean="0">
                <a:solidFill>
                  <a:srgbClr val="000000"/>
                </a:solidFill>
                <a:sym typeface="Helvetica Light"/>
              </a:rPr>
              <a:pPr algn="ctr" defTabSz="410765" hangingPunct="0"/>
              <a:t>15/06/2018</a:t>
            </a:fld>
            <a:endParaRPr lang="en-GB" kern="0" dirty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9" name="Rectangle 8"/>
          <p:cNvSpPr/>
          <p:nvPr userDrawn="1"/>
        </p:nvSpPr>
        <p:spPr>
          <a:xfrm rot="16200000">
            <a:off x="1615349" y="-157777"/>
            <a:ext cx="691602" cy="239829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0" marR="0" lvl="0" indent="0" algn="ctr" defTabSz="410765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Light"/>
              <a:sym typeface="Helvetica Ligh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70116" y="5536544"/>
            <a:ext cx="3075759" cy="661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76147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72212" y="6264005"/>
            <a:ext cx="1510613" cy="153888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pPr algn="ctr" defTabSz="410765" hangingPunct="0"/>
            <a:fld id="{521C9995-6F84-40C7-A1DC-4AD0AE1E539B}" type="datetime1">
              <a:rPr lang="en-GB" sz="2400" kern="0" smtClean="0">
                <a:solidFill>
                  <a:srgbClr val="000000"/>
                </a:solidFill>
                <a:sym typeface="Helvetica Light"/>
              </a:rPr>
              <a:pPr algn="ctr" defTabSz="410765" hangingPunct="0"/>
              <a:t>15/06/2018</a:t>
            </a:fld>
            <a:endParaRPr lang="en-GB" sz="2400" kern="0" dirty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82826" y="6264005"/>
            <a:ext cx="8381999" cy="153888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pPr algn="ctr" defTabSz="410765" hangingPunct="0"/>
            <a:r>
              <a:rPr lang="en-GB" sz="2400" kern="0" smtClean="0">
                <a:solidFill>
                  <a:srgbClr val="000000"/>
                </a:solidFill>
                <a:sym typeface="Helvetica Light"/>
              </a:rPr>
              <a:t>España</a:t>
            </a:r>
            <a:endParaRPr lang="en-GB" sz="2400" kern="0" dirty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959784" y="6394259"/>
            <a:ext cx="394017" cy="289308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pPr hangingPunct="0"/>
            <a:fld id="{1ED2235E-0982-3B42-A838-A74550CD4449}" type="slidenum">
              <a:rPr lang="en-GB" kern="0" smtClean="0"/>
              <a:pPr hangingPunct="0"/>
              <a:t>‹Nº›</a:t>
            </a:fld>
            <a:endParaRPr lang="en-GB" kern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085366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403225" y="688976"/>
            <a:ext cx="196850" cy="6826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0" marR="0" lvl="0" indent="0" algn="ctr" defTabSz="410765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/>
              <a:sym typeface="Helvetica Light"/>
            </a:endParaRPr>
          </a:p>
        </p:txBody>
      </p:sp>
      <p:pic>
        <p:nvPicPr>
          <p:cNvPr id="11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41120" y="689732"/>
            <a:ext cx="1895417" cy="407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995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Key Messag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72212" y="6264005"/>
            <a:ext cx="151061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 defTabSz="410765" hangingPunct="0"/>
            <a:fld id="{5B435024-75F1-4D5F-9C7A-DEE128261E9F}" type="datetime1">
              <a:rPr lang="en-GB" sz="2400" kern="0" smtClean="0">
                <a:solidFill>
                  <a:srgbClr val="FFFFFF"/>
                </a:solidFill>
                <a:sym typeface="Helvetica Light"/>
              </a:rPr>
              <a:pPr algn="ctr" defTabSz="410765" hangingPunct="0"/>
              <a:t>15/06/2018</a:t>
            </a:fld>
            <a:endParaRPr lang="en-GB" sz="2400" kern="0" dirty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82826" y="6264005"/>
            <a:ext cx="8381999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 defTabSz="410765" hangingPunct="0"/>
            <a:r>
              <a:rPr lang="en-GB" sz="2400" kern="0" smtClean="0">
                <a:solidFill>
                  <a:srgbClr val="FFFFFF"/>
                </a:solidFill>
                <a:sym typeface="Helvetica Light"/>
              </a:rPr>
              <a:t>España</a:t>
            </a:r>
            <a:endParaRPr lang="en-GB" sz="2400" kern="0" dirty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959784" y="6385026"/>
            <a:ext cx="394017" cy="3077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hangingPunct="0"/>
            <a:fld id="{1ED2235E-0982-3B42-A838-A74550CD4449}" type="slidenum">
              <a:rPr lang="en-GB" kern="0" smtClean="0">
                <a:solidFill>
                  <a:srgbClr val="FFFFFF"/>
                </a:solidFill>
              </a:rPr>
              <a:pPr hangingPunct="0"/>
              <a:t>‹Nº›</a:t>
            </a:fld>
            <a:endParaRPr lang="en-GB" kern="0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 rot="5400000">
            <a:off x="1845391" y="-394416"/>
            <a:ext cx="878042" cy="30448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0" marR="0" lvl="0" indent="0" algn="ctr" defTabSz="410765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0" cap="none" spc="0" normalizeH="0" baseline="0" noProof="0" dirty="0">
              <a:ln>
                <a:noFill/>
              </a:ln>
              <a:solidFill>
                <a:srgbClr val="0365C0"/>
              </a:solidFill>
              <a:effectLst/>
              <a:uLnTx/>
              <a:uFillTx/>
              <a:latin typeface="Helvetica Light"/>
              <a:sym typeface="Helvetica Light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72211" y="1905918"/>
            <a:ext cx="7606614" cy="3577306"/>
          </a:xfrm>
        </p:spPr>
        <p:txBody>
          <a:bodyPr/>
          <a:lstStyle>
            <a:lvl1pPr>
              <a:defRPr sz="48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2881162"/>
      </p:ext>
    </p:extLst>
  </p:cSld>
  <p:clrMapOvr>
    <a:masterClrMapping/>
  </p:clrMapOvr>
  <p:transition spd="med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ítulo y subtítulo copia 1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2-small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0844323" y="6414676"/>
            <a:ext cx="1024637" cy="215636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hape 12"/>
          <p:cNvSpPr>
            <a:spLocks noGrp="1"/>
          </p:cNvSpPr>
          <p:nvPr>
            <p:ph type="sldNum" sz="quarter" idx="2"/>
          </p:nvPr>
        </p:nvSpPr>
        <p:spPr>
          <a:xfrm>
            <a:off x="5923979" y="6540500"/>
            <a:ext cx="337696" cy="253057"/>
          </a:xfrm>
          <a:prstGeom prst="rect">
            <a:avLst/>
          </a:prstGeom>
        </p:spPr>
        <p:txBody>
          <a:bodyPr lIns="33865" tIns="33865" rIns="33865" bIns="33865" anchor="t"/>
          <a:lstStyle>
            <a:lvl1pPr algn="ctr" defTabSz="412749">
              <a:defRPr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hangingPunct="0">
              <a:defRPr/>
            </a:pPr>
            <a:fld id="{86CB4B4D-7CA3-9044-876B-883B54F8677D}" type="slidenum">
              <a:rPr lang="es-ES" kern="0" smtClean="0"/>
              <a:pPr hangingPunct="0">
                <a:defRPr/>
              </a:pPr>
              <a:t>‹Nº›</a:t>
            </a:fld>
            <a:endParaRPr lang="es-ES" kern="0"/>
          </a:p>
        </p:txBody>
      </p:sp>
    </p:spTree>
    <p:extLst>
      <p:ext uri="{BB962C8B-B14F-4D97-AF65-F5344CB8AC3E}">
        <p14:creationId xmlns:p14="http://schemas.microsoft.com/office/powerpoint/2010/main" val="2573200564"/>
      </p:ext>
    </p:extLst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ítulo y viñet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hape 19"/>
          <p:cNvSpPr>
            <a:spLocks noGrp="1"/>
          </p:cNvSpPr>
          <p:nvPr>
            <p:ph type="sldNum" sz="quarter" idx="2"/>
          </p:nvPr>
        </p:nvSpPr>
        <p:spPr>
          <a:xfrm>
            <a:off x="5908793" y="6505277"/>
            <a:ext cx="365485" cy="280846"/>
          </a:xfrm>
          <a:prstGeom prst="rect">
            <a:avLst/>
          </a:prstGeom>
        </p:spPr>
        <p:txBody>
          <a:bodyPr lIns="47625" tIns="47625" rIns="47625" bIns="47625" anchor="t"/>
          <a:lstStyle>
            <a:lvl1pPr algn="ctr" defTabSz="410765">
              <a:defRPr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hangingPunct="0">
              <a:defRPr/>
            </a:pPr>
            <a:fld id="{86CB4B4D-7CA3-9044-876B-883B54F8677D}" type="slidenum">
              <a:rPr lang="es-ES" kern="0" smtClean="0"/>
              <a:pPr hangingPunct="0">
                <a:defRPr/>
              </a:pPr>
              <a:t>‹Nº›</a:t>
            </a:fld>
            <a:endParaRPr lang="es-ES" kern="0"/>
          </a:p>
        </p:txBody>
      </p:sp>
    </p:spTree>
    <p:extLst>
      <p:ext uri="{BB962C8B-B14F-4D97-AF65-F5344CB8AC3E}">
        <p14:creationId xmlns:p14="http://schemas.microsoft.com/office/powerpoint/2010/main" val="3433037474"/>
      </p:ext>
    </p:extLst>
  </p:cSld>
  <p:clrMapOvr>
    <a:masterClrMapping/>
  </p:clrMapOvr>
  <p:transition spd="med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Shape 26"/>
          <p:cNvSpPr>
            <a:spLocks noGrp="1"/>
          </p:cNvSpPr>
          <p:nvPr>
            <p:ph type="sldNum" sz="quarter" idx="2"/>
          </p:nvPr>
        </p:nvSpPr>
        <p:spPr>
          <a:xfrm>
            <a:off x="5908793" y="6505277"/>
            <a:ext cx="365485" cy="280846"/>
          </a:xfrm>
          <a:prstGeom prst="rect">
            <a:avLst/>
          </a:prstGeom>
        </p:spPr>
        <p:txBody>
          <a:bodyPr lIns="47625" tIns="47625" rIns="47625" bIns="47625" anchor="t"/>
          <a:lstStyle>
            <a:lvl1pPr algn="ctr" defTabSz="410765">
              <a:defRPr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hangingPunct="0">
              <a:defRPr/>
            </a:pPr>
            <a:fld id="{86CB4B4D-7CA3-9044-876B-883B54F8677D}" type="slidenum">
              <a:rPr lang="es-ES" kern="0" smtClean="0"/>
              <a:pPr hangingPunct="0">
                <a:defRPr/>
              </a:pPr>
              <a:t>‹Nº›</a:t>
            </a:fld>
            <a:endParaRPr lang="es-ES" kern="0"/>
          </a:p>
        </p:txBody>
      </p:sp>
    </p:spTree>
    <p:extLst>
      <p:ext uri="{BB962C8B-B14F-4D97-AF65-F5344CB8AC3E}">
        <p14:creationId xmlns:p14="http://schemas.microsoft.com/office/powerpoint/2010/main" val="740272598"/>
      </p:ext>
    </p:extLst>
  </p:cSld>
  <p:clrMapOvr>
    <a:masterClrMapping/>
  </p:clrMapOvr>
  <p:transition spd="med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ítulo y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>
            <a:spLocks noGrp="1"/>
          </p:cNvSpPr>
          <p:nvPr>
            <p:ph type="sldNum" sz="quarter" idx="2"/>
          </p:nvPr>
        </p:nvSpPr>
        <p:spPr>
          <a:xfrm>
            <a:off x="8443293" y="6240936"/>
            <a:ext cx="294308" cy="230828"/>
          </a:xfrm>
          <a:prstGeom prst="rect">
            <a:avLst/>
          </a:prstGeom>
        </p:spPr>
        <p:txBody>
          <a:bodyPr lIns="45718" tIns="45718" rIns="45718" bIns="45718"/>
          <a:lstStyle>
            <a:lvl1pPr defTabSz="438150">
              <a:defRPr sz="9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hangingPunct="0">
              <a:defRPr/>
            </a:pPr>
            <a:fld id="{86CB4B4D-7CA3-9044-876B-883B54F8677D}" type="slidenum">
              <a:rPr lang="es-ES" kern="0" smtClean="0"/>
              <a:pPr hangingPunct="0">
                <a:defRPr/>
              </a:pPr>
              <a:t>‹Nº›</a:t>
            </a:fld>
            <a:endParaRPr lang="es-ES" kern="0"/>
          </a:p>
        </p:txBody>
      </p:sp>
    </p:spTree>
    <p:extLst>
      <p:ext uri="{BB962C8B-B14F-4D97-AF65-F5344CB8AC3E}">
        <p14:creationId xmlns:p14="http://schemas.microsoft.com/office/powerpoint/2010/main" val="1915655997"/>
      </p:ext>
    </p:extLst>
  </p:cSld>
  <p:clrMapOvr>
    <a:masterClrMapping/>
  </p:clrMapOvr>
  <p:transition spd="med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ítulo y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image3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0949540" y="132721"/>
            <a:ext cx="1153778" cy="1015246"/>
          </a:xfrm>
          <a:prstGeom prst="rect">
            <a:avLst/>
          </a:prstGeom>
          <a:ln w="12700">
            <a:miter lim="400000"/>
          </a:ln>
        </p:spPr>
      </p:pic>
      <p:sp>
        <p:nvSpPr>
          <p:cNvPr id="41" name="Shape 41"/>
          <p:cNvSpPr>
            <a:spLocks noGrp="1"/>
          </p:cNvSpPr>
          <p:nvPr>
            <p:ph type="sldNum" sz="quarter" idx="2"/>
          </p:nvPr>
        </p:nvSpPr>
        <p:spPr>
          <a:xfrm>
            <a:off x="8443293" y="6240936"/>
            <a:ext cx="294308" cy="230828"/>
          </a:xfrm>
          <a:prstGeom prst="rect">
            <a:avLst/>
          </a:prstGeom>
        </p:spPr>
        <p:txBody>
          <a:bodyPr lIns="45718" tIns="45718" rIns="45718" bIns="45718"/>
          <a:lstStyle>
            <a:lvl1pPr defTabSz="438150">
              <a:defRPr sz="9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hangingPunct="0">
              <a:defRPr/>
            </a:pPr>
            <a:fld id="{86CB4B4D-7CA3-9044-876B-883B54F8677D}" type="slidenum">
              <a:rPr lang="es-ES" kern="0" smtClean="0"/>
              <a:pPr hangingPunct="0">
                <a:defRPr/>
              </a:pPr>
              <a:t>‹Nº›</a:t>
            </a:fld>
            <a:endParaRPr lang="es-ES" kern="0"/>
          </a:p>
        </p:txBody>
      </p:sp>
    </p:spTree>
    <p:extLst>
      <p:ext uri="{BB962C8B-B14F-4D97-AF65-F5344CB8AC3E}">
        <p14:creationId xmlns:p14="http://schemas.microsoft.com/office/powerpoint/2010/main" val="39119265"/>
      </p:ext>
    </p:extLst>
  </p:cSld>
  <p:clrMapOvr>
    <a:masterClrMapping/>
  </p:clrMapOvr>
  <p:transition spd="med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ítulo y subtítulo copia 2">
    <p:bg>
      <p:bgPr>
        <a:solidFill>
          <a:srgbClr val="CFCED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Shape 48"/>
          <p:cNvSpPr>
            <a:spLocks noGrp="1"/>
          </p:cNvSpPr>
          <p:nvPr>
            <p:ph type="sldNum" sz="quarter" idx="2"/>
          </p:nvPr>
        </p:nvSpPr>
        <p:spPr>
          <a:xfrm>
            <a:off x="5923979" y="6540500"/>
            <a:ext cx="337696" cy="253057"/>
          </a:xfrm>
          <a:prstGeom prst="rect">
            <a:avLst/>
          </a:prstGeom>
        </p:spPr>
        <p:txBody>
          <a:bodyPr lIns="33865" tIns="33865" rIns="33865" bIns="33865" anchor="t"/>
          <a:lstStyle>
            <a:lvl1pPr algn="ctr" defTabSz="412749">
              <a:defRPr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hangingPunct="0">
              <a:defRPr/>
            </a:pPr>
            <a:fld id="{86CB4B4D-7CA3-9044-876B-883B54F8677D}" type="slidenum">
              <a:rPr lang="es-ES" kern="0" smtClean="0"/>
              <a:pPr hangingPunct="0">
                <a:defRPr/>
              </a:pPr>
              <a:t>‹Nº›</a:t>
            </a:fld>
            <a:endParaRPr lang="es-ES" kern="0"/>
          </a:p>
        </p:txBody>
      </p:sp>
    </p:spTree>
    <p:extLst>
      <p:ext uri="{BB962C8B-B14F-4D97-AF65-F5344CB8AC3E}">
        <p14:creationId xmlns:p14="http://schemas.microsoft.com/office/powerpoint/2010/main" val="3135974372"/>
      </p:ext>
    </p:extLst>
  </p:cSld>
  <p:clrMapOvr>
    <a:masterClrMapping/>
  </p:clrMapOvr>
  <p:transition spd="med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ítulo y subtítulo copia 1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image2-small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0602133" y="6257925"/>
            <a:ext cx="1181102" cy="248563"/>
          </a:xfrm>
          <a:prstGeom prst="rect">
            <a:avLst/>
          </a:prstGeom>
          <a:ln w="12700">
            <a:miter lim="400000"/>
          </a:ln>
        </p:spPr>
      </p:pic>
      <p:sp>
        <p:nvSpPr>
          <p:cNvPr id="56" name="Shape 56"/>
          <p:cNvSpPr>
            <a:spLocks noGrp="1"/>
          </p:cNvSpPr>
          <p:nvPr>
            <p:ph type="sldNum" sz="quarter" idx="2"/>
          </p:nvPr>
        </p:nvSpPr>
        <p:spPr>
          <a:xfrm>
            <a:off x="5923979" y="6540500"/>
            <a:ext cx="337696" cy="253057"/>
          </a:xfrm>
          <a:prstGeom prst="rect">
            <a:avLst/>
          </a:prstGeom>
        </p:spPr>
        <p:txBody>
          <a:bodyPr lIns="33865" tIns="33865" rIns="33865" bIns="33865" anchor="t"/>
          <a:lstStyle>
            <a:lvl1pPr algn="ctr" defTabSz="412749">
              <a:defRPr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hangingPunct="0">
              <a:defRPr/>
            </a:pPr>
            <a:fld id="{86CB4B4D-7CA3-9044-876B-883B54F8677D}" type="slidenum">
              <a:rPr lang="es-ES" kern="0" smtClean="0"/>
              <a:pPr hangingPunct="0">
                <a:defRPr/>
              </a:pPr>
              <a:t>‹Nº›</a:t>
            </a:fld>
            <a:endParaRPr lang="es-ES" kern="0"/>
          </a:p>
        </p:txBody>
      </p:sp>
    </p:spTree>
    <p:extLst>
      <p:ext uri="{BB962C8B-B14F-4D97-AF65-F5344CB8AC3E}">
        <p14:creationId xmlns:p14="http://schemas.microsoft.com/office/powerpoint/2010/main" val="696973982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2000" y="2057399"/>
            <a:ext cx="3554412" cy="4108451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16413" y="2057399"/>
            <a:ext cx="3554411" cy="4108451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E532C3-BDC6-412C-8421-6A90D298B791}" type="datetime1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C6C6C6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/06/2018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C6C6C6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6C6C6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sentation footer 10PT. Please add the relevant country to the footer.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C6C6C6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D2235E-0982-3B42-A838-A74550CD4449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C6C6C6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C6C6C6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Content Placeholder 3"/>
          <p:cNvSpPr>
            <a:spLocks noGrp="1"/>
          </p:cNvSpPr>
          <p:nvPr>
            <p:ph sz="half" idx="13"/>
          </p:nvPr>
        </p:nvSpPr>
        <p:spPr>
          <a:xfrm>
            <a:off x="7870824" y="2057400"/>
            <a:ext cx="3554411" cy="4108451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07914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log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9" name="Group 69"/>
          <p:cNvGrpSpPr/>
          <p:nvPr/>
        </p:nvGrpSpPr>
        <p:grpSpPr>
          <a:xfrm>
            <a:off x="10604259" y="6258079"/>
            <a:ext cx="1178977" cy="247499"/>
            <a:chOff x="0" y="-1"/>
            <a:chExt cx="1571968" cy="329996"/>
          </a:xfrm>
        </p:grpSpPr>
        <p:sp>
          <p:nvSpPr>
            <p:cNvPr id="63" name="Shape 63"/>
            <p:cNvSpPr/>
            <p:nvPr/>
          </p:nvSpPr>
          <p:spPr>
            <a:xfrm>
              <a:off x="-1" y="81553"/>
              <a:ext cx="245997" cy="2484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8908"/>
                  </a:moveTo>
                  <a:cubicBezTo>
                    <a:pt x="20722" y="3843"/>
                    <a:pt x="16273" y="0"/>
                    <a:pt x="10888" y="0"/>
                  </a:cubicBezTo>
                  <a:cubicBezTo>
                    <a:pt x="4917" y="0"/>
                    <a:pt x="0" y="4832"/>
                    <a:pt x="0" y="10771"/>
                  </a:cubicBezTo>
                  <a:cubicBezTo>
                    <a:pt x="0" y="16768"/>
                    <a:pt x="4917" y="21600"/>
                    <a:pt x="10888" y="21600"/>
                  </a:cubicBezTo>
                  <a:cubicBezTo>
                    <a:pt x="14400" y="21600"/>
                    <a:pt x="17502" y="19970"/>
                    <a:pt x="19493" y="17350"/>
                  </a:cubicBezTo>
                  <a:cubicBezTo>
                    <a:pt x="16917" y="15429"/>
                    <a:pt x="16917" y="15429"/>
                    <a:pt x="16917" y="15429"/>
                  </a:cubicBezTo>
                  <a:cubicBezTo>
                    <a:pt x="15571" y="17233"/>
                    <a:pt x="13346" y="18398"/>
                    <a:pt x="10888" y="18398"/>
                  </a:cubicBezTo>
                  <a:cubicBezTo>
                    <a:pt x="6673" y="18398"/>
                    <a:pt x="3278" y="14963"/>
                    <a:pt x="3278" y="10771"/>
                  </a:cubicBezTo>
                  <a:cubicBezTo>
                    <a:pt x="3278" y="6637"/>
                    <a:pt x="6673" y="3202"/>
                    <a:pt x="10888" y="3202"/>
                  </a:cubicBezTo>
                  <a:cubicBezTo>
                    <a:pt x="14459" y="3202"/>
                    <a:pt x="17502" y="5647"/>
                    <a:pt x="18322" y="8908"/>
                  </a:cubicBezTo>
                  <a:cubicBezTo>
                    <a:pt x="10244" y="8908"/>
                    <a:pt x="10244" y="8908"/>
                    <a:pt x="10244" y="8908"/>
                  </a:cubicBezTo>
                  <a:cubicBezTo>
                    <a:pt x="10244" y="12168"/>
                    <a:pt x="10244" y="12168"/>
                    <a:pt x="10244" y="12168"/>
                  </a:cubicBezTo>
                  <a:cubicBezTo>
                    <a:pt x="21600" y="12168"/>
                    <a:pt x="21600" y="12168"/>
                    <a:pt x="21600" y="12168"/>
                  </a:cubicBezTo>
                  <a:lnTo>
                    <a:pt x="21600" y="8908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7625" tIns="47625" rIns="47625" bIns="47625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latin typeface="Arial"/>
                  <a:ea typeface="Arial"/>
                  <a:cs typeface="Arial"/>
                  <a:sym typeface="Arial"/>
                </a:defRPr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64" name="Shape 64"/>
            <p:cNvSpPr/>
            <p:nvPr/>
          </p:nvSpPr>
          <p:spPr>
            <a:xfrm>
              <a:off x="826426" y="81553"/>
              <a:ext cx="245997" cy="2484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8908"/>
                  </a:moveTo>
                  <a:cubicBezTo>
                    <a:pt x="20722" y="3843"/>
                    <a:pt x="16215" y="0"/>
                    <a:pt x="10888" y="0"/>
                  </a:cubicBezTo>
                  <a:cubicBezTo>
                    <a:pt x="4859" y="0"/>
                    <a:pt x="0" y="4832"/>
                    <a:pt x="0" y="10771"/>
                  </a:cubicBezTo>
                  <a:cubicBezTo>
                    <a:pt x="0" y="16768"/>
                    <a:pt x="4859" y="21600"/>
                    <a:pt x="10888" y="21600"/>
                  </a:cubicBezTo>
                  <a:cubicBezTo>
                    <a:pt x="14400" y="21600"/>
                    <a:pt x="17502" y="19970"/>
                    <a:pt x="19493" y="17350"/>
                  </a:cubicBezTo>
                  <a:cubicBezTo>
                    <a:pt x="16917" y="15429"/>
                    <a:pt x="16917" y="15429"/>
                    <a:pt x="16917" y="15429"/>
                  </a:cubicBezTo>
                  <a:cubicBezTo>
                    <a:pt x="15512" y="17233"/>
                    <a:pt x="13346" y="18398"/>
                    <a:pt x="10888" y="18398"/>
                  </a:cubicBezTo>
                  <a:cubicBezTo>
                    <a:pt x="6673" y="18398"/>
                    <a:pt x="3220" y="14963"/>
                    <a:pt x="3220" y="10771"/>
                  </a:cubicBezTo>
                  <a:cubicBezTo>
                    <a:pt x="3220" y="6637"/>
                    <a:pt x="6673" y="3202"/>
                    <a:pt x="10888" y="3202"/>
                  </a:cubicBezTo>
                  <a:cubicBezTo>
                    <a:pt x="14400" y="3202"/>
                    <a:pt x="17444" y="5647"/>
                    <a:pt x="18263" y="8908"/>
                  </a:cubicBezTo>
                  <a:cubicBezTo>
                    <a:pt x="10244" y="8908"/>
                    <a:pt x="10244" y="8908"/>
                    <a:pt x="10244" y="8908"/>
                  </a:cubicBezTo>
                  <a:cubicBezTo>
                    <a:pt x="10244" y="12168"/>
                    <a:pt x="10244" y="12168"/>
                    <a:pt x="10244" y="12168"/>
                  </a:cubicBezTo>
                  <a:cubicBezTo>
                    <a:pt x="21600" y="12168"/>
                    <a:pt x="21600" y="12168"/>
                    <a:pt x="21600" y="12168"/>
                  </a:cubicBezTo>
                  <a:lnTo>
                    <a:pt x="21600" y="8908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7625" tIns="47625" rIns="47625" bIns="47625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latin typeface="Arial"/>
                  <a:ea typeface="Arial"/>
                  <a:cs typeface="Arial"/>
                  <a:sym typeface="Arial"/>
                </a:defRPr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65" name="Shape 65"/>
            <p:cNvSpPr/>
            <p:nvPr/>
          </p:nvSpPr>
          <p:spPr>
            <a:xfrm>
              <a:off x="283549" y="81553"/>
              <a:ext cx="221997" cy="2444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9054"/>
                  </a:moveTo>
                  <a:cubicBezTo>
                    <a:pt x="21600" y="4024"/>
                    <a:pt x="17059" y="0"/>
                    <a:pt x="11611" y="0"/>
                  </a:cubicBezTo>
                  <a:cubicBezTo>
                    <a:pt x="8432" y="0"/>
                    <a:pt x="5643" y="1124"/>
                    <a:pt x="3568" y="2959"/>
                  </a:cubicBezTo>
                  <a:cubicBezTo>
                    <a:pt x="3568" y="888"/>
                    <a:pt x="3568" y="888"/>
                    <a:pt x="3568" y="888"/>
                  </a:cubicBezTo>
                  <a:cubicBezTo>
                    <a:pt x="0" y="888"/>
                    <a:pt x="0" y="888"/>
                    <a:pt x="0" y="888"/>
                  </a:cubicBezTo>
                  <a:cubicBezTo>
                    <a:pt x="0" y="12368"/>
                    <a:pt x="0" y="12368"/>
                    <a:pt x="0" y="12368"/>
                  </a:cubicBezTo>
                  <a:cubicBezTo>
                    <a:pt x="3568" y="12368"/>
                    <a:pt x="3568" y="12368"/>
                    <a:pt x="3568" y="12368"/>
                  </a:cubicBezTo>
                  <a:cubicBezTo>
                    <a:pt x="3568" y="9646"/>
                    <a:pt x="3568" y="9646"/>
                    <a:pt x="3568" y="9646"/>
                  </a:cubicBezTo>
                  <a:cubicBezTo>
                    <a:pt x="4151" y="6983"/>
                    <a:pt x="6681" y="3255"/>
                    <a:pt x="11611" y="3255"/>
                  </a:cubicBezTo>
                  <a:cubicBezTo>
                    <a:pt x="15114" y="3255"/>
                    <a:pt x="17968" y="5799"/>
                    <a:pt x="17968" y="9054"/>
                  </a:cubicBezTo>
                  <a:cubicBezTo>
                    <a:pt x="17968" y="21600"/>
                    <a:pt x="17968" y="21600"/>
                    <a:pt x="17968" y="21600"/>
                  </a:cubicBezTo>
                  <a:cubicBezTo>
                    <a:pt x="21600" y="21600"/>
                    <a:pt x="21600" y="21600"/>
                    <a:pt x="21600" y="21600"/>
                  </a:cubicBezTo>
                  <a:lnTo>
                    <a:pt x="21600" y="9054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7625" tIns="47625" rIns="47625" bIns="47625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latin typeface="Arial"/>
                  <a:ea typeface="Arial"/>
                  <a:cs typeface="Arial"/>
                  <a:sym typeface="Arial"/>
                </a:defRPr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66" name="Shape 66"/>
            <p:cNvSpPr/>
            <p:nvPr/>
          </p:nvSpPr>
          <p:spPr>
            <a:xfrm>
              <a:off x="1109087" y="81553"/>
              <a:ext cx="180665" cy="2484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376" y="14206"/>
                  </a:moveTo>
                  <a:cubicBezTo>
                    <a:pt x="17376" y="16535"/>
                    <a:pt x="14347" y="18398"/>
                    <a:pt x="10760" y="18398"/>
                  </a:cubicBezTo>
                  <a:cubicBezTo>
                    <a:pt x="5181" y="18398"/>
                    <a:pt x="4463" y="14497"/>
                    <a:pt x="4463" y="14497"/>
                  </a:cubicBezTo>
                  <a:cubicBezTo>
                    <a:pt x="80" y="15312"/>
                    <a:pt x="80" y="15312"/>
                    <a:pt x="80" y="15312"/>
                  </a:cubicBezTo>
                  <a:cubicBezTo>
                    <a:pt x="80" y="15312"/>
                    <a:pt x="1674" y="21600"/>
                    <a:pt x="10840" y="21600"/>
                  </a:cubicBezTo>
                  <a:cubicBezTo>
                    <a:pt x="17615" y="21600"/>
                    <a:pt x="21600" y="17583"/>
                    <a:pt x="21600" y="13740"/>
                  </a:cubicBezTo>
                  <a:cubicBezTo>
                    <a:pt x="21600" y="12867"/>
                    <a:pt x="21600" y="12576"/>
                    <a:pt x="21441" y="12110"/>
                  </a:cubicBezTo>
                  <a:cubicBezTo>
                    <a:pt x="21361" y="11819"/>
                    <a:pt x="21361" y="11819"/>
                    <a:pt x="21361" y="11819"/>
                  </a:cubicBezTo>
                  <a:cubicBezTo>
                    <a:pt x="4384" y="7278"/>
                    <a:pt x="4384" y="7278"/>
                    <a:pt x="4384" y="7278"/>
                  </a:cubicBezTo>
                  <a:cubicBezTo>
                    <a:pt x="4782" y="5356"/>
                    <a:pt x="7492" y="3202"/>
                    <a:pt x="10601" y="3202"/>
                  </a:cubicBezTo>
                  <a:cubicBezTo>
                    <a:pt x="16419" y="3202"/>
                    <a:pt x="16977" y="6928"/>
                    <a:pt x="16977" y="6928"/>
                  </a:cubicBezTo>
                  <a:cubicBezTo>
                    <a:pt x="21361" y="6171"/>
                    <a:pt x="21361" y="6171"/>
                    <a:pt x="21361" y="6171"/>
                  </a:cubicBezTo>
                  <a:cubicBezTo>
                    <a:pt x="21361" y="6171"/>
                    <a:pt x="19926" y="0"/>
                    <a:pt x="10521" y="0"/>
                  </a:cubicBezTo>
                  <a:cubicBezTo>
                    <a:pt x="4224" y="0"/>
                    <a:pt x="0" y="3901"/>
                    <a:pt x="0" y="7569"/>
                  </a:cubicBezTo>
                  <a:cubicBezTo>
                    <a:pt x="0" y="8442"/>
                    <a:pt x="159" y="9548"/>
                    <a:pt x="159" y="9548"/>
                  </a:cubicBezTo>
                  <a:lnTo>
                    <a:pt x="17376" y="14206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7625" tIns="47625" rIns="47625" bIns="47625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latin typeface="Arial"/>
                  <a:ea typeface="Arial"/>
                  <a:cs typeface="Arial"/>
                  <a:sym typeface="Arial"/>
                </a:defRPr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67" name="Shape 67"/>
            <p:cNvSpPr/>
            <p:nvPr/>
          </p:nvSpPr>
          <p:spPr>
            <a:xfrm>
              <a:off x="542210" y="-2"/>
              <a:ext cx="247330" cy="32999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340" y="0"/>
                  </a:moveTo>
                  <a:cubicBezTo>
                    <a:pt x="18340" y="7624"/>
                    <a:pt x="18340" y="7624"/>
                    <a:pt x="18340" y="7624"/>
                  </a:cubicBezTo>
                  <a:cubicBezTo>
                    <a:pt x="16418" y="6222"/>
                    <a:pt x="13740" y="5345"/>
                    <a:pt x="10829" y="5345"/>
                  </a:cubicBezTo>
                  <a:cubicBezTo>
                    <a:pt x="4832" y="5345"/>
                    <a:pt x="0" y="8982"/>
                    <a:pt x="0" y="13451"/>
                  </a:cubicBezTo>
                  <a:cubicBezTo>
                    <a:pt x="0" y="17963"/>
                    <a:pt x="4832" y="21600"/>
                    <a:pt x="10829" y="21600"/>
                  </a:cubicBezTo>
                  <a:cubicBezTo>
                    <a:pt x="13042" y="21600"/>
                    <a:pt x="15079" y="21118"/>
                    <a:pt x="16826" y="20242"/>
                  </a:cubicBezTo>
                  <a:cubicBezTo>
                    <a:pt x="15021" y="18226"/>
                    <a:pt x="15021" y="18226"/>
                    <a:pt x="15021" y="18226"/>
                  </a:cubicBezTo>
                  <a:cubicBezTo>
                    <a:pt x="13798" y="18840"/>
                    <a:pt x="12343" y="19190"/>
                    <a:pt x="10829" y="19190"/>
                  </a:cubicBezTo>
                  <a:cubicBezTo>
                    <a:pt x="6637" y="19190"/>
                    <a:pt x="3202" y="16605"/>
                    <a:pt x="3202" y="13451"/>
                  </a:cubicBezTo>
                  <a:cubicBezTo>
                    <a:pt x="3202" y="10340"/>
                    <a:pt x="6637" y="7755"/>
                    <a:pt x="10829" y="7755"/>
                  </a:cubicBezTo>
                  <a:cubicBezTo>
                    <a:pt x="14730" y="7755"/>
                    <a:pt x="17932" y="9989"/>
                    <a:pt x="18340" y="12881"/>
                  </a:cubicBezTo>
                  <a:cubicBezTo>
                    <a:pt x="18340" y="21337"/>
                    <a:pt x="18340" y="21337"/>
                    <a:pt x="18340" y="21337"/>
                  </a:cubicBezTo>
                  <a:cubicBezTo>
                    <a:pt x="21600" y="21337"/>
                    <a:pt x="21600" y="21337"/>
                    <a:pt x="21600" y="21337"/>
                  </a:cubicBezTo>
                  <a:cubicBezTo>
                    <a:pt x="21600" y="0"/>
                    <a:pt x="21600" y="0"/>
                    <a:pt x="21600" y="0"/>
                  </a:cubicBezTo>
                  <a:lnTo>
                    <a:pt x="18340" y="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7625" tIns="47625" rIns="47625" bIns="47625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latin typeface="Arial"/>
                  <a:ea typeface="Arial"/>
                  <a:cs typeface="Arial"/>
                  <a:sym typeface="Arial"/>
                </a:defRPr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68" name="Shape 68"/>
            <p:cNvSpPr/>
            <p:nvPr/>
          </p:nvSpPr>
          <p:spPr>
            <a:xfrm>
              <a:off x="1325305" y="81553"/>
              <a:ext cx="246664" cy="24844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389" y="466"/>
                  </a:moveTo>
                  <a:cubicBezTo>
                    <a:pt x="18389" y="3027"/>
                    <a:pt x="18389" y="3027"/>
                    <a:pt x="18389" y="3027"/>
                  </a:cubicBezTo>
                  <a:cubicBezTo>
                    <a:pt x="16404" y="1164"/>
                    <a:pt x="13777" y="0"/>
                    <a:pt x="10800" y="0"/>
                  </a:cubicBezTo>
                  <a:cubicBezTo>
                    <a:pt x="4845" y="0"/>
                    <a:pt x="0" y="4832"/>
                    <a:pt x="0" y="10771"/>
                  </a:cubicBezTo>
                  <a:cubicBezTo>
                    <a:pt x="0" y="16768"/>
                    <a:pt x="4845" y="21600"/>
                    <a:pt x="10800" y="21600"/>
                  </a:cubicBezTo>
                  <a:cubicBezTo>
                    <a:pt x="13077" y="21600"/>
                    <a:pt x="15120" y="20960"/>
                    <a:pt x="16871" y="19795"/>
                  </a:cubicBezTo>
                  <a:cubicBezTo>
                    <a:pt x="15062" y="17117"/>
                    <a:pt x="15062" y="17117"/>
                    <a:pt x="15062" y="17117"/>
                  </a:cubicBezTo>
                  <a:cubicBezTo>
                    <a:pt x="13836" y="17932"/>
                    <a:pt x="12376" y="18398"/>
                    <a:pt x="10800" y="18398"/>
                  </a:cubicBezTo>
                  <a:cubicBezTo>
                    <a:pt x="6597" y="18398"/>
                    <a:pt x="3211" y="14963"/>
                    <a:pt x="3211" y="10771"/>
                  </a:cubicBezTo>
                  <a:cubicBezTo>
                    <a:pt x="3211" y="6637"/>
                    <a:pt x="6597" y="3202"/>
                    <a:pt x="10800" y="3202"/>
                  </a:cubicBezTo>
                  <a:cubicBezTo>
                    <a:pt x="14770" y="3202"/>
                    <a:pt x="17981" y="6171"/>
                    <a:pt x="18389" y="10014"/>
                  </a:cubicBezTo>
                  <a:cubicBezTo>
                    <a:pt x="18389" y="21251"/>
                    <a:pt x="18389" y="21251"/>
                    <a:pt x="18389" y="21251"/>
                  </a:cubicBezTo>
                  <a:cubicBezTo>
                    <a:pt x="21600" y="21251"/>
                    <a:pt x="21600" y="21251"/>
                    <a:pt x="21600" y="21251"/>
                  </a:cubicBezTo>
                  <a:cubicBezTo>
                    <a:pt x="21600" y="466"/>
                    <a:pt x="21600" y="466"/>
                    <a:pt x="21600" y="466"/>
                  </a:cubicBezTo>
                  <a:lnTo>
                    <a:pt x="18389" y="466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47625" tIns="47625" rIns="47625" bIns="47625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latin typeface="Arial"/>
                  <a:ea typeface="Arial"/>
                  <a:cs typeface="Arial"/>
                  <a:sym typeface="Arial"/>
                </a:defRPr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70" name="Shape 70"/>
          <p:cNvSpPr>
            <a:spLocks noGrp="1"/>
          </p:cNvSpPr>
          <p:nvPr>
            <p:ph type="sldNum" sz="quarter" idx="2"/>
          </p:nvPr>
        </p:nvSpPr>
        <p:spPr>
          <a:xfrm>
            <a:off x="5923979" y="6540500"/>
            <a:ext cx="337696" cy="253057"/>
          </a:xfrm>
          <a:prstGeom prst="rect">
            <a:avLst/>
          </a:prstGeom>
        </p:spPr>
        <p:txBody>
          <a:bodyPr lIns="33865" tIns="33865" rIns="33865" bIns="33865" anchor="t"/>
          <a:lstStyle>
            <a:lvl1pPr algn="ctr" defTabSz="412749">
              <a:defRPr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hangingPunct="0">
              <a:defRPr/>
            </a:pPr>
            <a:fld id="{86CB4B4D-7CA3-9044-876B-883B54F8677D}" type="slidenum">
              <a:rPr lang="es-ES" kern="0" smtClean="0"/>
              <a:pPr hangingPunct="0">
                <a:defRPr/>
              </a:pPr>
              <a:t>‹Nº›</a:t>
            </a:fld>
            <a:endParaRPr lang="es-ES" kern="0"/>
          </a:p>
        </p:txBody>
      </p:sp>
    </p:spTree>
    <p:extLst>
      <p:ext uri="{BB962C8B-B14F-4D97-AF65-F5344CB8AC3E}">
        <p14:creationId xmlns:p14="http://schemas.microsoft.com/office/powerpoint/2010/main" val="2251642519"/>
      </p:ext>
    </p:extLst>
  </p:cSld>
  <p:clrMapOvr>
    <a:masterClrMapping/>
  </p:clrMapOvr>
  <p:transition spd="med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ítulo y subtítulo copia 1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" name="image2-small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0845899" y="6417900"/>
            <a:ext cx="1013543" cy="213301"/>
          </a:xfrm>
          <a:prstGeom prst="rect">
            <a:avLst/>
          </a:prstGeom>
          <a:ln w="12700">
            <a:miter lim="400000"/>
          </a:ln>
        </p:spPr>
      </p:pic>
      <p:sp>
        <p:nvSpPr>
          <p:cNvPr id="78" name="Shape 78"/>
          <p:cNvSpPr>
            <a:spLocks noGrp="1"/>
          </p:cNvSpPr>
          <p:nvPr>
            <p:ph type="sldNum" sz="quarter" idx="2"/>
          </p:nvPr>
        </p:nvSpPr>
        <p:spPr>
          <a:xfrm>
            <a:off x="5923979" y="6540500"/>
            <a:ext cx="337696" cy="253057"/>
          </a:xfrm>
          <a:prstGeom prst="rect">
            <a:avLst/>
          </a:prstGeom>
        </p:spPr>
        <p:txBody>
          <a:bodyPr lIns="33865" tIns="33865" rIns="33865" bIns="33865" anchor="t"/>
          <a:lstStyle>
            <a:lvl1pPr algn="ctr" defTabSz="412749">
              <a:defRPr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hangingPunct="0">
              <a:defRPr/>
            </a:pPr>
            <a:fld id="{86CB4B4D-7CA3-9044-876B-883B54F8677D}" type="slidenum">
              <a:rPr lang="es-ES" kern="0" smtClean="0"/>
              <a:pPr hangingPunct="0">
                <a:defRPr/>
              </a:pPr>
              <a:t>‹Nº›</a:t>
            </a:fld>
            <a:endParaRPr lang="es-ES" kern="0"/>
          </a:p>
        </p:txBody>
      </p:sp>
    </p:spTree>
    <p:extLst>
      <p:ext uri="{BB962C8B-B14F-4D97-AF65-F5344CB8AC3E}">
        <p14:creationId xmlns:p14="http://schemas.microsoft.com/office/powerpoint/2010/main" val="1483503988"/>
      </p:ext>
    </p:extLst>
  </p:cSld>
  <p:clrMapOvr>
    <a:masterClrMapping/>
  </p:clrMapOvr>
  <p:transition spd="med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Shape 85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o del título</a:t>
            </a:r>
          </a:p>
        </p:txBody>
      </p:sp>
      <p:sp>
        <p:nvSpPr>
          <p:cNvPr id="86" name="Shape 86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87" name="Shape 87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hangingPunct="0">
              <a:defRPr/>
            </a:pPr>
            <a:fld id="{86CB4B4D-7CA3-9044-876B-883B54F8677D}" type="slidenum">
              <a:rPr lang="es-ES" kern="0" smtClean="0"/>
              <a:pPr hangingPunct="0">
                <a:defRPr/>
              </a:pPr>
              <a:t>‹Nº›</a:t>
            </a:fld>
            <a:endParaRPr lang="es-ES" kern="0"/>
          </a:p>
        </p:txBody>
      </p:sp>
    </p:spTree>
    <p:extLst>
      <p:ext uri="{BB962C8B-B14F-4D97-AF65-F5344CB8AC3E}">
        <p14:creationId xmlns:p14="http://schemas.microsoft.com/office/powerpoint/2010/main" val="416432910"/>
      </p:ext>
    </p:extLst>
  </p:cSld>
  <p:clrMapOvr>
    <a:masterClrMapping/>
  </p:clrMapOvr>
  <p:transition spd="med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ítulo y subtítulo copia 2">
    <p:bg>
      <p:bgPr>
        <a:solidFill>
          <a:srgbClr val="CFCED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Shape 94"/>
          <p:cNvSpPr>
            <a:spLocks noGrp="1"/>
          </p:cNvSpPr>
          <p:nvPr>
            <p:ph type="sldNum" sz="quarter" idx="2"/>
          </p:nvPr>
        </p:nvSpPr>
        <p:spPr>
          <a:xfrm>
            <a:off x="5923977" y="6540500"/>
            <a:ext cx="337698" cy="253059"/>
          </a:xfrm>
          <a:prstGeom prst="rect">
            <a:avLst/>
          </a:prstGeom>
          <a:ln w="3175"/>
        </p:spPr>
        <p:txBody>
          <a:bodyPr lIns="33866" tIns="33866" rIns="33866" bIns="33866" anchor="t"/>
          <a:lstStyle>
            <a:lvl1pPr algn="ctr" defTabSz="412750">
              <a:defRPr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hangingPunct="0">
              <a:defRPr/>
            </a:pPr>
            <a:fld id="{86CB4B4D-7CA3-9044-876B-883B54F8677D}" type="slidenum">
              <a:rPr lang="es-ES" kern="0" smtClean="0"/>
              <a:pPr hangingPunct="0">
                <a:defRPr/>
              </a:pPr>
              <a:t>‹Nº›</a:t>
            </a:fld>
            <a:endParaRPr lang="es-ES" kern="0"/>
          </a:p>
        </p:txBody>
      </p:sp>
    </p:spTree>
    <p:extLst>
      <p:ext uri="{BB962C8B-B14F-4D97-AF65-F5344CB8AC3E}">
        <p14:creationId xmlns:p14="http://schemas.microsoft.com/office/powerpoint/2010/main" val="3996413006"/>
      </p:ext>
    </p:extLst>
  </p:cSld>
  <p:clrMapOvr>
    <a:masterClrMapping/>
  </p:clrMapOvr>
  <p:transition spd="med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1" name="Endesa_Logo_Secondary_RGB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0716369" y="6357591"/>
            <a:ext cx="1181101" cy="248563"/>
          </a:xfrm>
          <a:prstGeom prst="rect">
            <a:avLst/>
          </a:prstGeom>
          <a:ln w="12700">
            <a:miter lim="400000"/>
          </a:ln>
        </p:spPr>
      </p:pic>
      <p:sp>
        <p:nvSpPr>
          <p:cNvPr id="102" name="Shape 102"/>
          <p:cNvSpPr>
            <a:spLocks noGrp="1"/>
          </p:cNvSpPr>
          <p:nvPr>
            <p:ph type="sldNum" sz="quarter" idx="2"/>
          </p:nvPr>
        </p:nvSpPr>
        <p:spPr>
          <a:xfrm>
            <a:off x="5966319" y="6505278"/>
            <a:ext cx="250433" cy="252413"/>
          </a:xfrm>
          <a:prstGeom prst="rect">
            <a:avLst/>
          </a:prstGeom>
        </p:spPr>
        <p:txBody>
          <a:bodyPr lIns="47625" tIns="47625" rIns="47625" bIns="47625" anchor="t">
            <a:normAutofit/>
          </a:bodyPr>
          <a:lstStyle>
            <a:lvl1pPr algn="ctr" defTabSz="410765">
              <a:defRPr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hangingPunct="0">
              <a:defRPr/>
            </a:pPr>
            <a:fld id="{86CB4B4D-7CA3-9044-876B-883B54F8677D}" type="slidenum">
              <a:rPr lang="es-ES" kern="0" smtClean="0"/>
              <a:pPr hangingPunct="0">
                <a:defRPr/>
              </a:pPr>
              <a:t>‹Nº›</a:t>
            </a:fld>
            <a:endParaRPr lang="es-ES" kern="0"/>
          </a:p>
        </p:txBody>
      </p:sp>
    </p:spTree>
    <p:extLst>
      <p:ext uri="{BB962C8B-B14F-4D97-AF65-F5344CB8AC3E}">
        <p14:creationId xmlns:p14="http://schemas.microsoft.com/office/powerpoint/2010/main" val="2343761678"/>
      </p:ext>
    </p:extLst>
  </p:cSld>
  <p:clrMapOvr>
    <a:masterClrMapping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ítulo y subtítulo copia 1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Shape 109"/>
          <p:cNvSpPr>
            <a:spLocks noGrp="1"/>
          </p:cNvSpPr>
          <p:nvPr>
            <p:ph type="sldNum" sz="quarter" idx="2"/>
          </p:nvPr>
        </p:nvSpPr>
        <p:spPr>
          <a:xfrm>
            <a:off x="5923977" y="6540500"/>
            <a:ext cx="337698" cy="253059"/>
          </a:xfrm>
          <a:prstGeom prst="rect">
            <a:avLst/>
          </a:prstGeom>
          <a:ln w="3175"/>
        </p:spPr>
        <p:txBody>
          <a:bodyPr lIns="33866" tIns="33866" rIns="33866" bIns="33866" anchor="t"/>
          <a:lstStyle>
            <a:lvl1pPr algn="ctr" defTabSz="412750">
              <a:defRPr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hangingPunct="0">
              <a:defRPr/>
            </a:pPr>
            <a:fld id="{86CB4B4D-7CA3-9044-876B-883B54F8677D}" type="slidenum">
              <a:rPr lang="es-ES" kern="0" smtClean="0"/>
              <a:pPr hangingPunct="0">
                <a:defRPr/>
              </a:pPr>
              <a:t>‹Nº›</a:t>
            </a:fld>
            <a:endParaRPr lang="es-ES" kern="0"/>
          </a:p>
        </p:txBody>
      </p:sp>
    </p:spTree>
    <p:extLst>
      <p:ext uri="{BB962C8B-B14F-4D97-AF65-F5344CB8AC3E}">
        <p14:creationId xmlns:p14="http://schemas.microsoft.com/office/powerpoint/2010/main" val="3985864279"/>
      </p:ext>
    </p:extLst>
  </p:cSld>
  <p:clrMapOvr>
    <a:masterClrMapping/>
  </p:clrMapOvr>
  <p:transition spd="med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log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2" name="Group 122"/>
          <p:cNvGrpSpPr/>
          <p:nvPr/>
        </p:nvGrpSpPr>
        <p:grpSpPr>
          <a:xfrm>
            <a:off x="10604259" y="6258080"/>
            <a:ext cx="1178975" cy="247496"/>
            <a:chOff x="0" y="0"/>
            <a:chExt cx="1571966" cy="329993"/>
          </a:xfrm>
        </p:grpSpPr>
        <p:sp>
          <p:nvSpPr>
            <p:cNvPr id="116" name="Shape 116"/>
            <p:cNvSpPr/>
            <p:nvPr/>
          </p:nvSpPr>
          <p:spPr>
            <a:xfrm>
              <a:off x="0" y="81553"/>
              <a:ext cx="245995" cy="2484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8908"/>
                  </a:moveTo>
                  <a:cubicBezTo>
                    <a:pt x="20722" y="3843"/>
                    <a:pt x="16273" y="0"/>
                    <a:pt x="10888" y="0"/>
                  </a:cubicBezTo>
                  <a:cubicBezTo>
                    <a:pt x="4917" y="0"/>
                    <a:pt x="0" y="4832"/>
                    <a:pt x="0" y="10771"/>
                  </a:cubicBezTo>
                  <a:cubicBezTo>
                    <a:pt x="0" y="16768"/>
                    <a:pt x="4917" y="21600"/>
                    <a:pt x="10888" y="21600"/>
                  </a:cubicBezTo>
                  <a:cubicBezTo>
                    <a:pt x="14400" y="21600"/>
                    <a:pt x="17502" y="19970"/>
                    <a:pt x="19493" y="17350"/>
                  </a:cubicBezTo>
                  <a:cubicBezTo>
                    <a:pt x="16917" y="15429"/>
                    <a:pt x="16917" y="15429"/>
                    <a:pt x="16917" y="15429"/>
                  </a:cubicBezTo>
                  <a:cubicBezTo>
                    <a:pt x="15571" y="17233"/>
                    <a:pt x="13346" y="18398"/>
                    <a:pt x="10888" y="18398"/>
                  </a:cubicBezTo>
                  <a:cubicBezTo>
                    <a:pt x="6673" y="18398"/>
                    <a:pt x="3278" y="14963"/>
                    <a:pt x="3278" y="10771"/>
                  </a:cubicBezTo>
                  <a:cubicBezTo>
                    <a:pt x="3278" y="6637"/>
                    <a:pt x="6673" y="3202"/>
                    <a:pt x="10888" y="3202"/>
                  </a:cubicBezTo>
                  <a:cubicBezTo>
                    <a:pt x="14459" y="3202"/>
                    <a:pt x="17502" y="5647"/>
                    <a:pt x="18322" y="8908"/>
                  </a:cubicBezTo>
                  <a:cubicBezTo>
                    <a:pt x="10244" y="8908"/>
                    <a:pt x="10244" y="8908"/>
                    <a:pt x="10244" y="8908"/>
                  </a:cubicBezTo>
                  <a:cubicBezTo>
                    <a:pt x="10244" y="12168"/>
                    <a:pt x="10244" y="12168"/>
                    <a:pt x="10244" y="12168"/>
                  </a:cubicBezTo>
                  <a:cubicBezTo>
                    <a:pt x="21600" y="12168"/>
                    <a:pt x="21600" y="12168"/>
                    <a:pt x="21600" y="12168"/>
                  </a:cubicBezTo>
                  <a:lnTo>
                    <a:pt x="21600" y="8908"/>
                  </a:lnTo>
                  <a:close/>
                </a:path>
              </a:pathLst>
            </a:custGeom>
            <a:solidFill>
              <a:srgbClr val="FFFFFF"/>
            </a:solidFill>
            <a:ln w="3175" cap="flat">
              <a:noFill/>
              <a:miter lim="400000"/>
            </a:ln>
            <a:effectLst/>
          </p:spPr>
          <p:txBody>
            <a:bodyPr wrap="square" lIns="48000" tIns="48000" rIns="48000" bIns="48000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latin typeface="Arial"/>
                  <a:ea typeface="Arial"/>
                  <a:cs typeface="Arial"/>
                  <a:sym typeface="Arial"/>
                </a:defRPr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17" name="Shape 117"/>
            <p:cNvSpPr/>
            <p:nvPr/>
          </p:nvSpPr>
          <p:spPr>
            <a:xfrm>
              <a:off x="826426" y="81553"/>
              <a:ext cx="245996" cy="2484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8908"/>
                  </a:moveTo>
                  <a:cubicBezTo>
                    <a:pt x="20722" y="3843"/>
                    <a:pt x="16215" y="0"/>
                    <a:pt x="10888" y="0"/>
                  </a:cubicBezTo>
                  <a:cubicBezTo>
                    <a:pt x="4859" y="0"/>
                    <a:pt x="0" y="4832"/>
                    <a:pt x="0" y="10771"/>
                  </a:cubicBezTo>
                  <a:cubicBezTo>
                    <a:pt x="0" y="16768"/>
                    <a:pt x="4859" y="21600"/>
                    <a:pt x="10888" y="21600"/>
                  </a:cubicBezTo>
                  <a:cubicBezTo>
                    <a:pt x="14400" y="21600"/>
                    <a:pt x="17502" y="19970"/>
                    <a:pt x="19493" y="17350"/>
                  </a:cubicBezTo>
                  <a:cubicBezTo>
                    <a:pt x="16917" y="15429"/>
                    <a:pt x="16917" y="15429"/>
                    <a:pt x="16917" y="15429"/>
                  </a:cubicBezTo>
                  <a:cubicBezTo>
                    <a:pt x="15512" y="17233"/>
                    <a:pt x="13346" y="18398"/>
                    <a:pt x="10888" y="18398"/>
                  </a:cubicBezTo>
                  <a:cubicBezTo>
                    <a:pt x="6673" y="18398"/>
                    <a:pt x="3220" y="14963"/>
                    <a:pt x="3220" y="10771"/>
                  </a:cubicBezTo>
                  <a:cubicBezTo>
                    <a:pt x="3220" y="6637"/>
                    <a:pt x="6673" y="3202"/>
                    <a:pt x="10888" y="3202"/>
                  </a:cubicBezTo>
                  <a:cubicBezTo>
                    <a:pt x="14400" y="3202"/>
                    <a:pt x="17444" y="5647"/>
                    <a:pt x="18263" y="8908"/>
                  </a:cubicBezTo>
                  <a:cubicBezTo>
                    <a:pt x="10244" y="8908"/>
                    <a:pt x="10244" y="8908"/>
                    <a:pt x="10244" y="8908"/>
                  </a:cubicBezTo>
                  <a:cubicBezTo>
                    <a:pt x="10244" y="12168"/>
                    <a:pt x="10244" y="12168"/>
                    <a:pt x="10244" y="12168"/>
                  </a:cubicBezTo>
                  <a:cubicBezTo>
                    <a:pt x="21600" y="12168"/>
                    <a:pt x="21600" y="12168"/>
                    <a:pt x="21600" y="12168"/>
                  </a:cubicBezTo>
                  <a:lnTo>
                    <a:pt x="21600" y="8908"/>
                  </a:lnTo>
                  <a:close/>
                </a:path>
              </a:pathLst>
            </a:custGeom>
            <a:solidFill>
              <a:srgbClr val="FFFFFF"/>
            </a:solidFill>
            <a:ln w="3175" cap="flat">
              <a:noFill/>
              <a:miter lim="400000"/>
            </a:ln>
            <a:effectLst/>
          </p:spPr>
          <p:txBody>
            <a:bodyPr wrap="square" lIns="48000" tIns="48000" rIns="48000" bIns="48000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latin typeface="Arial"/>
                  <a:ea typeface="Arial"/>
                  <a:cs typeface="Arial"/>
                  <a:sym typeface="Arial"/>
                </a:defRPr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18" name="Shape 118"/>
            <p:cNvSpPr/>
            <p:nvPr/>
          </p:nvSpPr>
          <p:spPr>
            <a:xfrm>
              <a:off x="283549" y="81553"/>
              <a:ext cx="221996" cy="2444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9054"/>
                  </a:moveTo>
                  <a:cubicBezTo>
                    <a:pt x="21600" y="4024"/>
                    <a:pt x="17059" y="0"/>
                    <a:pt x="11611" y="0"/>
                  </a:cubicBezTo>
                  <a:cubicBezTo>
                    <a:pt x="8432" y="0"/>
                    <a:pt x="5643" y="1124"/>
                    <a:pt x="3568" y="2959"/>
                  </a:cubicBezTo>
                  <a:cubicBezTo>
                    <a:pt x="3568" y="888"/>
                    <a:pt x="3568" y="888"/>
                    <a:pt x="3568" y="888"/>
                  </a:cubicBezTo>
                  <a:cubicBezTo>
                    <a:pt x="0" y="888"/>
                    <a:pt x="0" y="888"/>
                    <a:pt x="0" y="888"/>
                  </a:cubicBezTo>
                  <a:cubicBezTo>
                    <a:pt x="0" y="12368"/>
                    <a:pt x="0" y="12368"/>
                    <a:pt x="0" y="12368"/>
                  </a:cubicBezTo>
                  <a:cubicBezTo>
                    <a:pt x="3568" y="12368"/>
                    <a:pt x="3568" y="12368"/>
                    <a:pt x="3568" y="12368"/>
                  </a:cubicBezTo>
                  <a:cubicBezTo>
                    <a:pt x="3568" y="9646"/>
                    <a:pt x="3568" y="9646"/>
                    <a:pt x="3568" y="9646"/>
                  </a:cubicBezTo>
                  <a:cubicBezTo>
                    <a:pt x="4151" y="6983"/>
                    <a:pt x="6681" y="3255"/>
                    <a:pt x="11611" y="3255"/>
                  </a:cubicBezTo>
                  <a:cubicBezTo>
                    <a:pt x="15114" y="3255"/>
                    <a:pt x="17968" y="5799"/>
                    <a:pt x="17968" y="9054"/>
                  </a:cubicBezTo>
                  <a:cubicBezTo>
                    <a:pt x="17968" y="21600"/>
                    <a:pt x="17968" y="21600"/>
                    <a:pt x="17968" y="21600"/>
                  </a:cubicBezTo>
                  <a:cubicBezTo>
                    <a:pt x="21600" y="21600"/>
                    <a:pt x="21600" y="21600"/>
                    <a:pt x="21600" y="21600"/>
                  </a:cubicBezTo>
                  <a:lnTo>
                    <a:pt x="21600" y="9054"/>
                  </a:lnTo>
                  <a:close/>
                </a:path>
              </a:pathLst>
            </a:custGeom>
            <a:solidFill>
              <a:srgbClr val="FFFFFF"/>
            </a:solidFill>
            <a:ln w="3175" cap="flat">
              <a:noFill/>
              <a:miter lim="400000"/>
            </a:ln>
            <a:effectLst/>
          </p:spPr>
          <p:txBody>
            <a:bodyPr wrap="square" lIns="48000" tIns="48000" rIns="48000" bIns="48000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latin typeface="Arial"/>
                  <a:ea typeface="Arial"/>
                  <a:cs typeface="Arial"/>
                  <a:sym typeface="Arial"/>
                </a:defRPr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19" name="Shape 119"/>
            <p:cNvSpPr/>
            <p:nvPr/>
          </p:nvSpPr>
          <p:spPr>
            <a:xfrm>
              <a:off x="1109087" y="81553"/>
              <a:ext cx="180664" cy="2484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376" y="14206"/>
                  </a:moveTo>
                  <a:cubicBezTo>
                    <a:pt x="17376" y="16535"/>
                    <a:pt x="14347" y="18398"/>
                    <a:pt x="10760" y="18398"/>
                  </a:cubicBezTo>
                  <a:cubicBezTo>
                    <a:pt x="5181" y="18398"/>
                    <a:pt x="4463" y="14497"/>
                    <a:pt x="4463" y="14497"/>
                  </a:cubicBezTo>
                  <a:cubicBezTo>
                    <a:pt x="80" y="15312"/>
                    <a:pt x="80" y="15312"/>
                    <a:pt x="80" y="15312"/>
                  </a:cubicBezTo>
                  <a:cubicBezTo>
                    <a:pt x="80" y="15312"/>
                    <a:pt x="1674" y="21600"/>
                    <a:pt x="10840" y="21600"/>
                  </a:cubicBezTo>
                  <a:cubicBezTo>
                    <a:pt x="17615" y="21600"/>
                    <a:pt x="21600" y="17583"/>
                    <a:pt x="21600" y="13740"/>
                  </a:cubicBezTo>
                  <a:cubicBezTo>
                    <a:pt x="21600" y="12867"/>
                    <a:pt x="21600" y="12576"/>
                    <a:pt x="21441" y="12110"/>
                  </a:cubicBezTo>
                  <a:cubicBezTo>
                    <a:pt x="21361" y="11819"/>
                    <a:pt x="21361" y="11819"/>
                    <a:pt x="21361" y="11819"/>
                  </a:cubicBezTo>
                  <a:cubicBezTo>
                    <a:pt x="4384" y="7278"/>
                    <a:pt x="4384" y="7278"/>
                    <a:pt x="4384" y="7278"/>
                  </a:cubicBezTo>
                  <a:cubicBezTo>
                    <a:pt x="4782" y="5356"/>
                    <a:pt x="7492" y="3202"/>
                    <a:pt x="10601" y="3202"/>
                  </a:cubicBezTo>
                  <a:cubicBezTo>
                    <a:pt x="16419" y="3202"/>
                    <a:pt x="16977" y="6928"/>
                    <a:pt x="16977" y="6928"/>
                  </a:cubicBezTo>
                  <a:cubicBezTo>
                    <a:pt x="21361" y="6171"/>
                    <a:pt x="21361" y="6171"/>
                    <a:pt x="21361" y="6171"/>
                  </a:cubicBezTo>
                  <a:cubicBezTo>
                    <a:pt x="21361" y="6171"/>
                    <a:pt x="19926" y="0"/>
                    <a:pt x="10521" y="0"/>
                  </a:cubicBezTo>
                  <a:cubicBezTo>
                    <a:pt x="4224" y="0"/>
                    <a:pt x="0" y="3901"/>
                    <a:pt x="0" y="7569"/>
                  </a:cubicBezTo>
                  <a:cubicBezTo>
                    <a:pt x="0" y="8442"/>
                    <a:pt x="159" y="9548"/>
                    <a:pt x="159" y="9548"/>
                  </a:cubicBezTo>
                  <a:lnTo>
                    <a:pt x="17376" y="14206"/>
                  </a:lnTo>
                  <a:close/>
                </a:path>
              </a:pathLst>
            </a:custGeom>
            <a:solidFill>
              <a:srgbClr val="FFFFFF"/>
            </a:solidFill>
            <a:ln w="3175" cap="flat">
              <a:noFill/>
              <a:miter lim="400000"/>
            </a:ln>
            <a:effectLst/>
          </p:spPr>
          <p:txBody>
            <a:bodyPr wrap="square" lIns="48000" tIns="48000" rIns="48000" bIns="48000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latin typeface="Arial"/>
                  <a:ea typeface="Arial"/>
                  <a:cs typeface="Arial"/>
                  <a:sym typeface="Arial"/>
                </a:defRPr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20" name="Shape 120"/>
            <p:cNvSpPr/>
            <p:nvPr/>
          </p:nvSpPr>
          <p:spPr>
            <a:xfrm>
              <a:off x="542210" y="-1"/>
              <a:ext cx="247329" cy="3299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340" y="0"/>
                  </a:moveTo>
                  <a:cubicBezTo>
                    <a:pt x="18340" y="7624"/>
                    <a:pt x="18340" y="7624"/>
                    <a:pt x="18340" y="7624"/>
                  </a:cubicBezTo>
                  <a:cubicBezTo>
                    <a:pt x="16418" y="6222"/>
                    <a:pt x="13740" y="5345"/>
                    <a:pt x="10829" y="5345"/>
                  </a:cubicBezTo>
                  <a:cubicBezTo>
                    <a:pt x="4832" y="5345"/>
                    <a:pt x="0" y="8982"/>
                    <a:pt x="0" y="13451"/>
                  </a:cubicBezTo>
                  <a:cubicBezTo>
                    <a:pt x="0" y="17963"/>
                    <a:pt x="4832" y="21600"/>
                    <a:pt x="10829" y="21600"/>
                  </a:cubicBezTo>
                  <a:cubicBezTo>
                    <a:pt x="13042" y="21600"/>
                    <a:pt x="15079" y="21118"/>
                    <a:pt x="16826" y="20242"/>
                  </a:cubicBezTo>
                  <a:cubicBezTo>
                    <a:pt x="15021" y="18226"/>
                    <a:pt x="15021" y="18226"/>
                    <a:pt x="15021" y="18226"/>
                  </a:cubicBezTo>
                  <a:cubicBezTo>
                    <a:pt x="13798" y="18840"/>
                    <a:pt x="12343" y="19190"/>
                    <a:pt x="10829" y="19190"/>
                  </a:cubicBezTo>
                  <a:cubicBezTo>
                    <a:pt x="6637" y="19190"/>
                    <a:pt x="3202" y="16605"/>
                    <a:pt x="3202" y="13451"/>
                  </a:cubicBezTo>
                  <a:cubicBezTo>
                    <a:pt x="3202" y="10340"/>
                    <a:pt x="6637" y="7755"/>
                    <a:pt x="10829" y="7755"/>
                  </a:cubicBezTo>
                  <a:cubicBezTo>
                    <a:pt x="14730" y="7755"/>
                    <a:pt x="17932" y="9989"/>
                    <a:pt x="18340" y="12881"/>
                  </a:cubicBezTo>
                  <a:cubicBezTo>
                    <a:pt x="18340" y="21337"/>
                    <a:pt x="18340" y="21337"/>
                    <a:pt x="18340" y="21337"/>
                  </a:cubicBezTo>
                  <a:cubicBezTo>
                    <a:pt x="21600" y="21337"/>
                    <a:pt x="21600" y="21337"/>
                    <a:pt x="21600" y="21337"/>
                  </a:cubicBezTo>
                  <a:cubicBezTo>
                    <a:pt x="21600" y="0"/>
                    <a:pt x="21600" y="0"/>
                    <a:pt x="21600" y="0"/>
                  </a:cubicBezTo>
                  <a:lnTo>
                    <a:pt x="18340" y="0"/>
                  </a:lnTo>
                  <a:close/>
                </a:path>
              </a:pathLst>
            </a:custGeom>
            <a:solidFill>
              <a:srgbClr val="FFFFFF"/>
            </a:solidFill>
            <a:ln w="3175" cap="flat">
              <a:noFill/>
              <a:miter lim="400000"/>
            </a:ln>
            <a:effectLst/>
          </p:spPr>
          <p:txBody>
            <a:bodyPr wrap="square" lIns="48000" tIns="48000" rIns="48000" bIns="48000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latin typeface="Arial"/>
                  <a:ea typeface="Arial"/>
                  <a:cs typeface="Arial"/>
                  <a:sym typeface="Arial"/>
                </a:defRPr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21" name="Shape 121"/>
            <p:cNvSpPr/>
            <p:nvPr/>
          </p:nvSpPr>
          <p:spPr>
            <a:xfrm>
              <a:off x="1325305" y="81553"/>
              <a:ext cx="246662" cy="2484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389" y="466"/>
                  </a:moveTo>
                  <a:cubicBezTo>
                    <a:pt x="18389" y="3027"/>
                    <a:pt x="18389" y="3027"/>
                    <a:pt x="18389" y="3027"/>
                  </a:cubicBezTo>
                  <a:cubicBezTo>
                    <a:pt x="16404" y="1164"/>
                    <a:pt x="13777" y="0"/>
                    <a:pt x="10800" y="0"/>
                  </a:cubicBezTo>
                  <a:cubicBezTo>
                    <a:pt x="4845" y="0"/>
                    <a:pt x="0" y="4832"/>
                    <a:pt x="0" y="10771"/>
                  </a:cubicBezTo>
                  <a:cubicBezTo>
                    <a:pt x="0" y="16768"/>
                    <a:pt x="4845" y="21600"/>
                    <a:pt x="10800" y="21600"/>
                  </a:cubicBezTo>
                  <a:cubicBezTo>
                    <a:pt x="13077" y="21600"/>
                    <a:pt x="15120" y="20960"/>
                    <a:pt x="16871" y="19795"/>
                  </a:cubicBezTo>
                  <a:cubicBezTo>
                    <a:pt x="15062" y="17117"/>
                    <a:pt x="15062" y="17117"/>
                    <a:pt x="15062" y="17117"/>
                  </a:cubicBezTo>
                  <a:cubicBezTo>
                    <a:pt x="13836" y="17932"/>
                    <a:pt x="12376" y="18398"/>
                    <a:pt x="10800" y="18398"/>
                  </a:cubicBezTo>
                  <a:cubicBezTo>
                    <a:pt x="6597" y="18398"/>
                    <a:pt x="3211" y="14963"/>
                    <a:pt x="3211" y="10771"/>
                  </a:cubicBezTo>
                  <a:cubicBezTo>
                    <a:pt x="3211" y="6637"/>
                    <a:pt x="6597" y="3202"/>
                    <a:pt x="10800" y="3202"/>
                  </a:cubicBezTo>
                  <a:cubicBezTo>
                    <a:pt x="14770" y="3202"/>
                    <a:pt x="17981" y="6171"/>
                    <a:pt x="18389" y="10014"/>
                  </a:cubicBezTo>
                  <a:cubicBezTo>
                    <a:pt x="18389" y="21251"/>
                    <a:pt x="18389" y="21251"/>
                    <a:pt x="18389" y="21251"/>
                  </a:cubicBezTo>
                  <a:cubicBezTo>
                    <a:pt x="21600" y="21251"/>
                    <a:pt x="21600" y="21251"/>
                    <a:pt x="21600" y="21251"/>
                  </a:cubicBezTo>
                  <a:cubicBezTo>
                    <a:pt x="21600" y="466"/>
                    <a:pt x="21600" y="466"/>
                    <a:pt x="21600" y="466"/>
                  </a:cubicBezTo>
                  <a:lnTo>
                    <a:pt x="18389" y="466"/>
                  </a:lnTo>
                  <a:close/>
                </a:path>
              </a:pathLst>
            </a:custGeom>
            <a:solidFill>
              <a:srgbClr val="FFFFFF"/>
            </a:solidFill>
            <a:ln w="3175" cap="flat">
              <a:noFill/>
              <a:miter lim="400000"/>
            </a:ln>
            <a:effectLst/>
          </p:spPr>
          <p:txBody>
            <a:bodyPr wrap="square" lIns="48000" tIns="48000" rIns="48000" bIns="48000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latin typeface="Arial"/>
                  <a:ea typeface="Arial"/>
                  <a:cs typeface="Arial"/>
                  <a:sym typeface="Arial"/>
                </a:defRPr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123" name="Shape 123"/>
          <p:cNvSpPr>
            <a:spLocks noGrp="1"/>
          </p:cNvSpPr>
          <p:nvPr>
            <p:ph type="sldNum" sz="quarter" idx="2"/>
          </p:nvPr>
        </p:nvSpPr>
        <p:spPr>
          <a:xfrm>
            <a:off x="5923977" y="6540500"/>
            <a:ext cx="337698" cy="253059"/>
          </a:xfrm>
          <a:prstGeom prst="rect">
            <a:avLst/>
          </a:prstGeom>
          <a:ln w="3175"/>
        </p:spPr>
        <p:txBody>
          <a:bodyPr lIns="33866" tIns="33866" rIns="33866" bIns="33866" anchor="t"/>
          <a:lstStyle>
            <a:lvl1pPr algn="ctr" defTabSz="412750">
              <a:defRPr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hangingPunct="0">
              <a:defRPr/>
            </a:pPr>
            <a:fld id="{86CB4B4D-7CA3-9044-876B-883B54F8677D}" type="slidenum">
              <a:rPr lang="es-ES" kern="0" smtClean="0"/>
              <a:pPr hangingPunct="0">
                <a:defRPr/>
              </a:pPr>
              <a:t>‹Nº›</a:t>
            </a:fld>
            <a:endParaRPr lang="es-ES" kern="0"/>
          </a:p>
        </p:txBody>
      </p:sp>
    </p:spTree>
    <p:extLst>
      <p:ext uri="{BB962C8B-B14F-4D97-AF65-F5344CB8AC3E}">
        <p14:creationId xmlns:p14="http://schemas.microsoft.com/office/powerpoint/2010/main" val="2386647689"/>
      </p:ext>
    </p:extLst>
  </p:cSld>
  <p:clrMapOvr>
    <a:masterClrMapping/>
  </p:clrMapOvr>
  <p:transition spd="med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Título y subtítulo copia 1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0" name="Endesa_Logo_Primary_RGB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0602133" y="6257925"/>
            <a:ext cx="1181101" cy="248562"/>
          </a:xfrm>
          <a:prstGeom prst="rect">
            <a:avLst/>
          </a:prstGeom>
          <a:ln w="12700">
            <a:miter lim="400000"/>
          </a:ln>
        </p:spPr>
      </p:pic>
      <p:sp>
        <p:nvSpPr>
          <p:cNvPr id="131" name="Shape 131"/>
          <p:cNvSpPr>
            <a:spLocks noGrp="1"/>
          </p:cNvSpPr>
          <p:nvPr>
            <p:ph type="sldNum" sz="quarter" idx="2"/>
          </p:nvPr>
        </p:nvSpPr>
        <p:spPr>
          <a:xfrm>
            <a:off x="5923977" y="6540500"/>
            <a:ext cx="337698" cy="253059"/>
          </a:xfrm>
          <a:prstGeom prst="rect">
            <a:avLst/>
          </a:prstGeom>
          <a:ln w="3175"/>
        </p:spPr>
        <p:txBody>
          <a:bodyPr lIns="33866" tIns="33866" rIns="33866" bIns="33866" anchor="t"/>
          <a:lstStyle>
            <a:lvl1pPr algn="ctr" defTabSz="412750">
              <a:defRPr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hangingPunct="0">
              <a:defRPr/>
            </a:pPr>
            <a:fld id="{86CB4B4D-7CA3-9044-876B-883B54F8677D}" type="slidenum">
              <a:rPr lang="es-ES" kern="0" smtClean="0"/>
              <a:pPr hangingPunct="0">
                <a:defRPr/>
              </a:pPr>
              <a:t>‹Nº›</a:t>
            </a:fld>
            <a:endParaRPr lang="es-ES" kern="0"/>
          </a:p>
        </p:txBody>
      </p:sp>
    </p:spTree>
    <p:extLst>
      <p:ext uri="{BB962C8B-B14F-4D97-AF65-F5344CB8AC3E}">
        <p14:creationId xmlns:p14="http://schemas.microsoft.com/office/powerpoint/2010/main" val="3558330603"/>
      </p:ext>
    </p:extLst>
  </p:cSld>
  <p:clrMapOvr>
    <a:masterClrMapping/>
  </p:clrMapOvr>
  <p:transition spd="med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ítulo y viñet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Shape 138"/>
          <p:cNvSpPr>
            <a:spLocks noGrp="1"/>
          </p:cNvSpPr>
          <p:nvPr>
            <p:ph type="title"/>
          </p:nvPr>
        </p:nvSpPr>
        <p:spPr>
          <a:xfrm>
            <a:off x="2193726" y="312539"/>
            <a:ext cx="7804548" cy="1518048"/>
          </a:xfrm>
          <a:prstGeom prst="rect">
            <a:avLst/>
          </a:prstGeom>
        </p:spPr>
        <p:txBody>
          <a:bodyPr lIns="47625" tIns="47625" rIns="47625" bIns="47625"/>
          <a:lstStyle>
            <a:lvl1pPr algn="ctr" defTabSz="410765">
              <a:lnSpc>
                <a:spcPct val="100000"/>
              </a:lnSpc>
              <a:defRPr sz="5550"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r>
              <a:t>Texto del título</a:t>
            </a:r>
          </a:p>
        </p:txBody>
      </p:sp>
      <p:sp>
        <p:nvSpPr>
          <p:cNvPr id="139" name="Shape 139"/>
          <p:cNvSpPr>
            <a:spLocks noGrp="1"/>
          </p:cNvSpPr>
          <p:nvPr>
            <p:ph type="body" idx="1"/>
          </p:nvPr>
        </p:nvSpPr>
        <p:spPr>
          <a:xfrm>
            <a:off x="2193726" y="1830586"/>
            <a:ext cx="7804548" cy="4420196"/>
          </a:xfrm>
          <a:prstGeom prst="rect">
            <a:avLst/>
          </a:prstGeom>
        </p:spPr>
        <p:txBody>
          <a:bodyPr lIns="47625" tIns="47625" rIns="47625" bIns="47625" anchor="ctr"/>
          <a:lstStyle>
            <a:lvl1pPr marL="296333" indent="-296333" defTabSz="410765">
              <a:lnSpc>
                <a:spcPct val="100000"/>
              </a:lnSpc>
              <a:spcBef>
                <a:spcPts val="2925"/>
              </a:spcBef>
              <a:buSzPct val="75000"/>
              <a:buFontTx/>
              <a:defRPr sz="2400"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629708" indent="-296333" defTabSz="410765">
              <a:lnSpc>
                <a:spcPct val="100000"/>
              </a:lnSpc>
              <a:spcBef>
                <a:spcPts val="2925"/>
              </a:spcBef>
              <a:buSzPct val="75000"/>
              <a:buFontTx/>
              <a:defRPr sz="2400"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963083" indent="-296333" defTabSz="410765">
              <a:lnSpc>
                <a:spcPct val="100000"/>
              </a:lnSpc>
              <a:spcBef>
                <a:spcPts val="2925"/>
              </a:spcBef>
              <a:buSzPct val="75000"/>
              <a:buFontTx/>
              <a:defRPr sz="2400"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296458" indent="-296333" defTabSz="410765">
              <a:lnSpc>
                <a:spcPct val="100000"/>
              </a:lnSpc>
              <a:spcBef>
                <a:spcPts val="2925"/>
              </a:spcBef>
              <a:buSzPct val="75000"/>
              <a:buFontTx/>
              <a:defRPr sz="2400"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1629833" indent="-296333" defTabSz="410765">
              <a:lnSpc>
                <a:spcPct val="100000"/>
              </a:lnSpc>
              <a:spcBef>
                <a:spcPts val="2925"/>
              </a:spcBef>
              <a:buSzPct val="75000"/>
              <a:buFontTx/>
              <a:defRPr sz="2400">
                <a:latin typeface="Helvetica Light"/>
                <a:ea typeface="Helvetica Light"/>
                <a:cs typeface="Helvetica Light"/>
                <a:sym typeface="Helvetica Light"/>
              </a:defRPr>
            </a:lvl5pPr>
          </a:lstStyle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140" name="Shape 140"/>
          <p:cNvSpPr>
            <a:spLocks noGrp="1"/>
          </p:cNvSpPr>
          <p:nvPr>
            <p:ph type="sldNum" sz="quarter" idx="2"/>
          </p:nvPr>
        </p:nvSpPr>
        <p:spPr>
          <a:xfrm>
            <a:off x="5908793" y="6505277"/>
            <a:ext cx="365485" cy="280846"/>
          </a:xfrm>
          <a:prstGeom prst="rect">
            <a:avLst/>
          </a:prstGeom>
        </p:spPr>
        <p:txBody>
          <a:bodyPr lIns="47625" tIns="47625" rIns="47625" bIns="47625" anchor="t"/>
          <a:lstStyle>
            <a:lvl1pPr algn="ctr" defTabSz="410765">
              <a:defRPr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hangingPunct="0">
              <a:defRPr/>
            </a:pPr>
            <a:fld id="{86CB4B4D-7CA3-9044-876B-883B54F8677D}" type="slidenum">
              <a:rPr lang="es-ES" kern="0" smtClean="0"/>
              <a:pPr hangingPunct="0">
                <a:defRPr/>
              </a:pPr>
              <a:t>‹Nº›</a:t>
            </a:fld>
            <a:endParaRPr lang="es-ES" kern="0"/>
          </a:p>
        </p:txBody>
      </p:sp>
    </p:spTree>
    <p:extLst>
      <p:ext uri="{BB962C8B-B14F-4D97-AF65-F5344CB8AC3E}">
        <p14:creationId xmlns:p14="http://schemas.microsoft.com/office/powerpoint/2010/main" val="2589456962"/>
      </p:ext>
    </p:extLst>
  </p:cSld>
  <p:clrMapOvr>
    <a:masterClrMapping/>
  </p:clrMapOvr>
  <p:transition spd="med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Título y subtítulo copia 1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7" name="image11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0602133" y="6257925"/>
            <a:ext cx="1181102" cy="248563"/>
          </a:xfrm>
          <a:prstGeom prst="rect">
            <a:avLst/>
          </a:prstGeom>
          <a:ln w="12700">
            <a:miter lim="400000"/>
          </a:ln>
        </p:spPr>
      </p:pic>
      <p:sp>
        <p:nvSpPr>
          <p:cNvPr id="148" name="Shape 148"/>
          <p:cNvSpPr>
            <a:spLocks noGrp="1"/>
          </p:cNvSpPr>
          <p:nvPr>
            <p:ph type="sldNum" sz="quarter" idx="2"/>
          </p:nvPr>
        </p:nvSpPr>
        <p:spPr>
          <a:xfrm>
            <a:off x="5923979" y="6540500"/>
            <a:ext cx="337696" cy="253057"/>
          </a:xfrm>
          <a:prstGeom prst="rect">
            <a:avLst/>
          </a:prstGeom>
        </p:spPr>
        <p:txBody>
          <a:bodyPr lIns="33865" tIns="33865" rIns="33865" bIns="33865" anchor="t"/>
          <a:lstStyle>
            <a:lvl1pPr algn="ctr" defTabSz="412749">
              <a:defRPr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hangingPunct="0">
              <a:defRPr/>
            </a:pPr>
            <a:fld id="{86CB4B4D-7CA3-9044-876B-883B54F8677D}" type="slidenum">
              <a:rPr lang="es-ES" kern="0" smtClean="0"/>
              <a:pPr hangingPunct="0">
                <a:defRPr/>
              </a:pPr>
              <a:t>‹Nº›</a:t>
            </a:fld>
            <a:endParaRPr lang="es-ES" kern="0"/>
          </a:p>
        </p:txBody>
      </p:sp>
    </p:spTree>
    <p:extLst>
      <p:ext uri="{BB962C8B-B14F-4D97-AF65-F5344CB8AC3E}">
        <p14:creationId xmlns:p14="http://schemas.microsoft.com/office/powerpoint/2010/main" val="357178386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200"/>
              </a:spcBef>
              <a:spcAft>
                <a:spcPts val="1200"/>
              </a:spcAft>
              <a:defRPr sz="3800"/>
            </a:lvl1pPr>
            <a:lvl2pPr>
              <a:defRPr i="1"/>
            </a:lvl2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B00B05-373A-41FF-B59B-BD51B554A048}" type="datetime1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C6C6C6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/06/2018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C6C6C6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6C6C6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sentation footer 10PT. Please add the relevant country to the footer.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C6C6C6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D2235E-0982-3B42-A838-A74550CD4449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C6C6C6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C6C6C6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613655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_Título y subtítulo copia 1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5" name="image1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0845899" y="6417900"/>
            <a:ext cx="1013543" cy="213301"/>
          </a:xfrm>
          <a:prstGeom prst="rect">
            <a:avLst/>
          </a:prstGeom>
          <a:ln w="12700">
            <a:miter lim="400000"/>
          </a:ln>
        </p:spPr>
      </p:pic>
      <p:sp>
        <p:nvSpPr>
          <p:cNvPr id="156" name="Shape 156"/>
          <p:cNvSpPr>
            <a:spLocks noGrp="1"/>
          </p:cNvSpPr>
          <p:nvPr>
            <p:ph type="sldNum" sz="quarter" idx="2"/>
          </p:nvPr>
        </p:nvSpPr>
        <p:spPr>
          <a:xfrm>
            <a:off x="5911776" y="6540500"/>
            <a:ext cx="362098" cy="275856"/>
          </a:xfrm>
          <a:prstGeom prst="rect">
            <a:avLst/>
          </a:prstGeom>
        </p:spPr>
        <p:txBody>
          <a:bodyPr lIns="45154" tIns="45154" rIns="45154" bIns="45154" anchor="t"/>
          <a:lstStyle>
            <a:lvl1pPr algn="ctr" defTabSz="412750">
              <a:defRPr>
                <a:solidFill>
                  <a:srgbClr val="FFFFFF"/>
                </a:solidFill>
              </a:defRPr>
            </a:lvl1pPr>
          </a:lstStyle>
          <a:p>
            <a:pPr hangingPunct="0">
              <a:defRPr/>
            </a:pPr>
            <a:fld id="{86CB4B4D-7CA3-9044-876B-883B54F8677D}" type="slidenum">
              <a:rPr lang="es-ES" kern="0" smtClean="0"/>
              <a:pPr hangingPunct="0">
                <a:defRPr/>
              </a:pPr>
              <a:t>‹Nº›</a:t>
            </a:fld>
            <a:endParaRPr lang="es-ES" kern="0"/>
          </a:p>
        </p:txBody>
      </p:sp>
    </p:spTree>
    <p:extLst>
      <p:ext uri="{BB962C8B-B14F-4D97-AF65-F5344CB8AC3E}">
        <p14:creationId xmlns:p14="http://schemas.microsoft.com/office/powerpoint/2010/main" val="3364133536"/>
      </p:ext>
    </p:extLst>
  </p:cSld>
  <p:clrMapOvr>
    <a:masterClrMapping/>
  </p:clrMapOvr>
  <p:transition spd="med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ítulo y subtítulo copia 1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hape 12"/>
          <p:cNvSpPr>
            <a:spLocks noGrp="1"/>
          </p:cNvSpPr>
          <p:nvPr>
            <p:ph type="sldNum" sz="quarter" idx="2"/>
          </p:nvPr>
        </p:nvSpPr>
        <p:spPr>
          <a:xfrm>
            <a:off x="5923977" y="6540500"/>
            <a:ext cx="337698" cy="253059"/>
          </a:xfrm>
          <a:prstGeom prst="rect">
            <a:avLst/>
          </a:prstGeom>
        </p:spPr>
        <p:txBody>
          <a:bodyPr lIns="33866" tIns="33866" rIns="33866" bIns="33866" anchor="t"/>
          <a:lstStyle>
            <a:lvl1pPr algn="ctr" defTabSz="412750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hangingPunct="0"/>
            <a:fld id="{86CB4B4D-7CA3-9044-876B-883B54F8677D}" type="slidenum">
              <a:rPr lang="es-ES" kern="0" smtClean="0"/>
              <a:pPr hangingPunct="0"/>
              <a:t>‹Nº›</a:t>
            </a:fld>
            <a:endParaRPr lang="es-ES" kern="0"/>
          </a:p>
        </p:txBody>
      </p:sp>
      <p:pic>
        <p:nvPicPr>
          <p:cNvPr id="4" name="Endesa_Logo_Primary_RGB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5900" y="6417900"/>
            <a:ext cx="1013542" cy="213300"/>
          </a:xfrm>
          <a:prstGeom prst="rect">
            <a:avLst/>
          </a:prstGeom>
          <a:ln w="3175">
            <a:miter lim="400000"/>
          </a:ln>
        </p:spPr>
      </p:pic>
    </p:spTree>
    <p:extLst>
      <p:ext uri="{BB962C8B-B14F-4D97-AF65-F5344CB8AC3E}">
        <p14:creationId xmlns:p14="http://schemas.microsoft.com/office/powerpoint/2010/main" val="381055476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ítulo y viñet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Shape 26"/>
          <p:cNvSpPr>
            <a:spLocks noGrp="1"/>
          </p:cNvSpPr>
          <p:nvPr>
            <p:ph type="sldNum" sz="quarter" idx="2"/>
          </p:nvPr>
        </p:nvSpPr>
        <p:spPr>
          <a:xfrm>
            <a:off x="5908793" y="6505277"/>
            <a:ext cx="365485" cy="280846"/>
          </a:xfrm>
          <a:prstGeom prst="rect">
            <a:avLst/>
          </a:prstGeom>
        </p:spPr>
        <p:txBody>
          <a:bodyPr lIns="47625" tIns="47625" rIns="47625" bIns="47625" anchor="t"/>
          <a:lstStyle>
            <a:lvl1pPr algn="ctr" defTabSz="410765">
              <a:defRPr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hangingPunct="0"/>
            <a:fld id="{86CB4B4D-7CA3-9044-876B-883B54F8677D}" type="slidenum">
              <a:rPr lang="es-ES" kern="0" smtClean="0"/>
              <a:pPr hangingPunct="0"/>
              <a:t>‹Nº›</a:t>
            </a:fld>
            <a:endParaRPr lang="es-ES" kern="0"/>
          </a:p>
        </p:txBody>
      </p:sp>
    </p:spTree>
    <p:extLst>
      <p:ext uri="{BB962C8B-B14F-4D97-AF65-F5344CB8AC3E}">
        <p14:creationId xmlns:p14="http://schemas.microsoft.com/office/powerpoint/2010/main" val="17056878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ítulo y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Shape 40"/>
          <p:cNvSpPr>
            <a:spLocks noGrp="1"/>
          </p:cNvSpPr>
          <p:nvPr>
            <p:ph type="sldNum" sz="quarter" idx="2"/>
          </p:nvPr>
        </p:nvSpPr>
        <p:spPr>
          <a:xfrm>
            <a:off x="8443291" y="6240935"/>
            <a:ext cx="294310" cy="230830"/>
          </a:xfrm>
          <a:prstGeom prst="rect">
            <a:avLst/>
          </a:prstGeom>
        </p:spPr>
        <p:txBody>
          <a:bodyPr lIns="45719" tIns="45719" rIns="45719" bIns="45719"/>
          <a:lstStyle>
            <a:lvl1pPr defTabSz="438150">
              <a:defRPr sz="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hangingPunct="0"/>
            <a:fld id="{86CB4B4D-7CA3-9044-876B-883B54F8677D}" type="slidenum">
              <a:rPr lang="es-ES" kern="0" smtClean="0"/>
              <a:pPr hangingPunct="0"/>
              <a:t>‹Nº›</a:t>
            </a:fld>
            <a:endParaRPr lang="es-ES" kern="0"/>
          </a:p>
        </p:txBody>
      </p:sp>
    </p:spTree>
    <p:extLst>
      <p:ext uri="{BB962C8B-B14F-4D97-AF65-F5344CB8AC3E}">
        <p14:creationId xmlns:p14="http://schemas.microsoft.com/office/powerpoint/2010/main" val="297518470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Shape 47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exto del título</a:t>
            </a:r>
          </a:p>
        </p:txBody>
      </p:sp>
      <p:sp>
        <p:nvSpPr>
          <p:cNvPr id="48" name="Shape 48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49" name="Shape 49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hangingPunct="0"/>
            <a:fld id="{86CB4B4D-7CA3-9044-876B-883B54F8677D}" type="slidenum">
              <a:rPr lang="es-ES" kern="0" smtClean="0"/>
              <a:pPr hangingPunct="0"/>
              <a:t>‹Nº›</a:t>
            </a:fld>
            <a:endParaRPr lang="es-ES" kern="0"/>
          </a:p>
        </p:txBody>
      </p:sp>
    </p:spTree>
    <p:extLst>
      <p:ext uri="{BB962C8B-B14F-4D97-AF65-F5344CB8AC3E}">
        <p14:creationId xmlns:p14="http://schemas.microsoft.com/office/powerpoint/2010/main" val="44244880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ítulo y sub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image2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49539" y="132721"/>
            <a:ext cx="1153778" cy="1015246"/>
          </a:xfrm>
          <a:prstGeom prst="rect">
            <a:avLst/>
          </a:prstGeom>
          <a:ln w="3175">
            <a:miter lim="400000"/>
          </a:ln>
        </p:spPr>
      </p:pic>
      <p:sp>
        <p:nvSpPr>
          <p:cNvPr id="57" name="Shape 57"/>
          <p:cNvSpPr>
            <a:spLocks noGrp="1"/>
          </p:cNvSpPr>
          <p:nvPr>
            <p:ph type="sldNum" sz="quarter" idx="2"/>
          </p:nvPr>
        </p:nvSpPr>
        <p:spPr>
          <a:xfrm>
            <a:off x="8443291" y="6240935"/>
            <a:ext cx="294310" cy="230830"/>
          </a:xfrm>
          <a:prstGeom prst="rect">
            <a:avLst/>
          </a:prstGeom>
        </p:spPr>
        <p:txBody>
          <a:bodyPr lIns="45719" tIns="45719" rIns="45719" bIns="45719"/>
          <a:lstStyle>
            <a:lvl1pPr defTabSz="438150">
              <a:defRPr sz="900">
                <a:solidFill>
                  <a:srgbClr val="000000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hangingPunct="0"/>
            <a:fld id="{86CB4B4D-7CA3-9044-876B-883B54F8677D}" type="slidenum">
              <a:rPr lang="es-ES" kern="0" smtClean="0"/>
              <a:pPr hangingPunct="0"/>
              <a:t>‹Nº›</a:t>
            </a:fld>
            <a:endParaRPr lang="es-ES" kern="0"/>
          </a:p>
        </p:txBody>
      </p:sp>
    </p:spTree>
    <p:extLst>
      <p:ext uri="{BB962C8B-B14F-4D97-AF65-F5344CB8AC3E}">
        <p14:creationId xmlns:p14="http://schemas.microsoft.com/office/powerpoint/2010/main" val="68944614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log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5" name="Group 85"/>
          <p:cNvGrpSpPr/>
          <p:nvPr/>
        </p:nvGrpSpPr>
        <p:grpSpPr>
          <a:xfrm>
            <a:off x="10604259" y="6258080"/>
            <a:ext cx="1178975" cy="247496"/>
            <a:chOff x="0" y="0"/>
            <a:chExt cx="1571966" cy="329993"/>
          </a:xfrm>
        </p:grpSpPr>
        <p:sp>
          <p:nvSpPr>
            <p:cNvPr id="79" name="Shape 79"/>
            <p:cNvSpPr/>
            <p:nvPr/>
          </p:nvSpPr>
          <p:spPr>
            <a:xfrm>
              <a:off x="0" y="81553"/>
              <a:ext cx="245995" cy="2484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8908"/>
                  </a:moveTo>
                  <a:cubicBezTo>
                    <a:pt x="20722" y="3843"/>
                    <a:pt x="16273" y="0"/>
                    <a:pt x="10888" y="0"/>
                  </a:cubicBezTo>
                  <a:cubicBezTo>
                    <a:pt x="4917" y="0"/>
                    <a:pt x="0" y="4832"/>
                    <a:pt x="0" y="10771"/>
                  </a:cubicBezTo>
                  <a:cubicBezTo>
                    <a:pt x="0" y="16768"/>
                    <a:pt x="4917" y="21600"/>
                    <a:pt x="10888" y="21600"/>
                  </a:cubicBezTo>
                  <a:cubicBezTo>
                    <a:pt x="14400" y="21600"/>
                    <a:pt x="17502" y="19970"/>
                    <a:pt x="19493" y="17350"/>
                  </a:cubicBezTo>
                  <a:cubicBezTo>
                    <a:pt x="16917" y="15429"/>
                    <a:pt x="16917" y="15429"/>
                    <a:pt x="16917" y="15429"/>
                  </a:cubicBezTo>
                  <a:cubicBezTo>
                    <a:pt x="15571" y="17233"/>
                    <a:pt x="13346" y="18398"/>
                    <a:pt x="10888" y="18398"/>
                  </a:cubicBezTo>
                  <a:cubicBezTo>
                    <a:pt x="6673" y="18398"/>
                    <a:pt x="3278" y="14963"/>
                    <a:pt x="3278" y="10771"/>
                  </a:cubicBezTo>
                  <a:cubicBezTo>
                    <a:pt x="3278" y="6637"/>
                    <a:pt x="6673" y="3202"/>
                    <a:pt x="10888" y="3202"/>
                  </a:cubicBezTo>
                  <a:cubicBezTo>
                    <a:pt x="14459" y="3202"/>
                    <a:pt x="17502" y="5647"/>
                    <a:pt x="18322" y="8908"/>
                  </a:cubicBezTo>
                  <a:cubicBezTo>
                    <a:pt x="10244" y="8908"/>
                    <a:pt x="10244" y="8908"/>
                    <a:pt x="10244" y="8908"/>
                  </a:cubicBezTo>
                  <a:cubicBezTo>
                    <a:pt x="10244" y="12168"/>
                    <a:pt x="10244" y="12168"/>
                    <a:pt x="10244" y="12168"/>
                  </a:cubicBezTo>
                  <a:cubicBezTo>
                    <a:pt x="21600" y="12168"/>
                    <a:pt x="21600" y="12168"/>
                    <a:pt x="21600" y="12168"/>
                  </a:cubicBezTo>
                  <a:lnTo>
                    <a:pt x="21600" y="8908"/>
                  </a:lnTo>
                  <a:close/>
                </a:path>
              </a:pathLst>
            </a:custGeom>
            <a:solidFill>
              <a:srgbClr val="FFFFFF"/>
            </a:solidFill>
            <a:ln w="3175" cap="flat">
              <a:noFill/>
              <a:miter lim="400000"/>
            </a:ln>
            <a:effectLst/>
          </p:spPr>
          <p:txBody>
            <a:bodyPr wrap="square" lIns="48000" tIns="48000" rIns="48000" bIns="48000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latin typeface="Arial"/>
                  <a:ea typeface="Arial"/>
                  <a:cs typeface="Arial"/>
                  <a:sym typeface="Arial"/>
                </a:defRPr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80" name="Shape 80"/>
            <p:cNvSpPr/>
            <p:nvPr/>
          </p:nvSpPr>
          <p:spPr>
            <a:xfrm>
              <a:off x="826426" y="81553"/>
              <a:ext cx="245996" cy="2484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8908"/>
                  </a:moveTo>
                  <a:cubicBezTo>
                    <a:pt x="20722" y="3843"/>
                    <a:pt x="16215" y="0"/>
                    <a:pt x="10888" y="0"/>
                  </a:cubicBezTo>
                  <a:cubicBezTo>
                    <a:pt x="4859" y="0"/>
                    <a:pt x="0" y="4832"/>
                    <a:pt x="0" y="10771"/>
                  </a:cubicBezTo>
                  <a:cubicBezTo>
                    <a:pt x="0" y="16768"/>
                    <a:pt x="4859" y="21600"/>
                    <a:pt x="10888" y="21600"/>
                  </a:cubicBezTo>
                  <a:cubicBezTo>
                    <a:pt x="14400" y="21600"/>
                    <a:pt x="17502" y="19970"/>
                    <a:pt x="19493" y="17350"/>
                  </a:cubicBezTo>
                  <a:cubicBezTo>
                    <a:pt x="16917" y="15429"/>
                    <a:pt x="16917" y="15429"/>
                    <a:pt x="16917" y="15429"/>
                  </a:cubicBezTo>
                  <a:cubicBezTo>
                    <a:pt x="15512" y="17233"/>
                    <a:pt x="13346" y="18398"/>
                    <a:pt x="10888" y="18398"/>
                  </a:cubicBezTo>
                  <a:cubicBezTo>
                    <a:pt x="6673" y="18398"/>
                    <a:pt x="3220" y="14963"/>
                    <a:pt x="3220" y="10771"/>
                  </a:cubicBezTo>
                  <a:cubicBezTo>
                    <a:pt x="3220" y="6637"/>
                    <a:pt x="6673" y="3202"/>
                    <a:pt x="10888" y="3202"/>
                  </a:cubicBezTo>
                  <a:cubicBezTo>
                    <a:pt x="14400" y="3202"/>
                    <a:pt x="17444" y="5647"/>
                    <a:pt x="18263" y="8908"/>
                  </a:cubicBezTo>
                  <a:cubicBezTo>
                    <a:pt x="10244" y="8908"/>
                    <a:pt x="10244" y="8908"/>
                    <a:pt x="10244" y="8908"/>
                  </a:cubicBezTo>
                  <a:cubicBezTo>
                    <a:pt x="10244" y="12168"/>
                    <a:pt x="10244" y="12168"/>
                    <a:pt x="10244" y="12168"/>
                  </a:cubicBezTo>
                  <a:cubicBezTo>
                    <a:pt x="21600" y="12168"/>
                    <a:pt x="21600" y="12168"/>
                    <a:pt x="21600" y="12168"/>
                  </a:cubicBezTo>
                  <a:lnTo>
                    <a:pt x="21600" y="8908"/>
                  </a:lnTo>
                  <a:close/>
                </a:path>
              </a:pathLst>
            </a:custGeom>
            <a:solidFill>
              <a:srgbClr val="FFFFFF"/>
            </a:solidFill>
            <a:ln w="3175" cap="flat">
              <a:noFill/>
              <a:miter lim="400000"/>
            </a:ln>
            <a:effectLst/>
          </p:spPr>
          <p:txBody>
            <a:bodyPr wrap="square" lIns="48000" tIns="48000" rIns="48000" bIns="48000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latin typeface="Arial"/>
                  <a:ea typeface="Arial"/>
                  <a:cs typeface="Arial"/>
                  <a:sym typeface="Arial"/>
                </a:defRPr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81" name="Shape 81"/>
            <p:cNvSpPr/>
            <p:nvPr/>
          </p:nvSpPr>
          <p:spPr>
            <a:xfrm>
              <a:off x="283549" y="81553"/>
              <a:ext cx="221996" cy="2444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21600" y="9054"/>
                  </a:moveTo>
                  <a:cubicBezTo>
                    <a:pt x="21600" y="4024"/>
                    <a:pt x="17059" y="0"/>
                    <a:pt x="11611" y="0"/>
                  </a:cubicBezTo>
                  <a:cubicBezTo>
                    <a:pt x="8432" y="0"/>
                    <a:pt x="5643" y="1124"/>
                    <a:pt x="3568" y="2959"/>
                  </a:cubicBezTo>
                  <a:cubicBezTo>
                    <a:pt x="3568" y="888"/>
                    <a:pt x="3568" y="888"/>
                    <a:pt x="3568" y="888"/>
                  </a:cubicBezTo>
                  <a:cubicBezTo>
                    <a:pt x="0" y="888"/>
                    <a:pt x="0" y="888"/>
                    <a:pt x="0" y="888"/>
                  </a:cubicBezTo>
                  <a:cubicBezTo>
                    <a:pt x="0" y="12368"/>
                    <a:pt x="0" y="12368"/>
                    <a:pt x="0" y="12368"/>
                  </a:cubicBezTo>
                  <a:cubicBezTo>
                    <a:pt x="3568" y="12368"/>
                    <a:pt x="3568" y="12368"/>
                    <a:pt x="3568" y="12368"/>
                  </a:cubicBezTo>
                  <a:cubicBezTo>
                    <a:pt x="3568" y="9646"/>
                    <a:pt x="3568" y="9646"/>
                    <a:pt x="3568" y="9646"/>
                  </a:cubicBezTo>
                  <a:cubicBezTo>
                    <a:pt x="4151" y="6983"/>
                    <a:pt x="6681" y="3255"/>
                    <a:pt x="11611" y="3255"/>
                  </a:cubicBezTo>
                  <a:cubicBezTo>
                    <a:pt x="15114" y="3255"/>
                    <a:pt x="17968" y="5799"/>
                    <a:pt x="17968" y="9054"/>
                  </a:cubicBezTo>
                  <a:cubicBezTo>
                    <a:pt x="17968" y="21600"/>
                    <a:pt x="17968" y="21600"/>
                    <a:pt x="17968" y="21600"/>
                  </a:cubicBezTo>
                  <a:cubicBezTo>
                    <a:pt x="21600" y="21600"/>
                    <a:pt x="21600" y="21600"/>
                    <a:pt x="21600" y="21600"/>
                  </a:cubicBezTo>
                  <a:lnTo>
                    <a:pt x="21600" y="9054"/>
                  </a:lnTo>
                  <a:close/>
                </a:path>
              </a:pathLst>
            </a:custGeom>
            <a:solidFill>
              <a:srgbClr val="FFFFFF"/>
            </a:solidFill>
            <a:ln w="3175" cap="flat">
              <a:noFill/>
              <a:miter lim="400000"/>
            </a:ln>
            <a:effectLst/>
          </p:spPr>
          <p:txBody>
            <a:bodyPr wrap="square" lIns="48000" tIns="48000" rIns="48000" bIns="48000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latin typeface="Arial"/>
                  <a:ea typeface="Arial"/>
                  <a:cs typeface="Arial"/>
                  <a:sym typeface="Arial"/>
                </a:defRPr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82" name="Shape 82"/>
            <p:cNvSpPr/>
            <p:nvPr/>
          </p:nvSpPr>
          <p:spPr>
            <a:xfrm>
              <a:off x="1109087" y="81553"/>
              <a:ext cx="180664" cy="2484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7376" y="14206"/>
                  </a:moveTo>
                  <a:cubicBezTo>
                    <a:pt x="17376" y="16535"/>
                    <a:pt x="14347" y="18398"/>
                    <a:pt x="10760" y="18398"/>
                  </a:cubicBezTo>
                  <a:cubicBezTo>
                    <a:pt x="5181" y="18398"/>
                    <a:pt x="4463" y="14497"/>
                    <a:pt x="4463" y="14497"/>
                  </a:cubicBezTo>
                  <a:cubicBezTo>
                    <a:pt x="80" y="15312"/>
                    <a:pt x="80" y="15312"/>
                    <a:pt x="80" y="15312"/>
                  </a:cubicBezTo>
                  <a:cubicBezTo>
                    <a:pt x="80" y="15312"/>
                    <a:pt x="1674" y="21600"/>
                    <a:pt x="10840" y="21600"/>
                  </a:cubicBezTo>
                  <a:cubicBezTo>
                    <a:pt x="17615" y="21600"/>
                    <a:pt x="21600" y="17583"/>
                    <a:pt x="21600" y="13740"/>
                  </a:cubicBezTo>
                  <a:cubicBezTo>
                    <a:pt x="21600" y="12867"/>
                    <a:pt x="21600" y="12576"/>
                    <a:pt x="21441" y="12110"/>
                  </a:cubicBezTo>
                  <a:cubicBezTo>
                    <a:pt x="21361" y="11819"/>
                    <a:pt x="21361" y="11819"/>
                    <a:pt x="21361" y="11819"/>
                  </a:cubicBezTo>
                  <a:cubicBezTo>
                    <a:pt x="4384" y="7278"/>
                    <a:pt x="4384" y="7278"/>
                    <a:pt x="4384" y="7278"/>
                  </a:cubicBezTo>
                  <a:cubicBezTo>
                    <a:pt x="4782" y="5356"/>
                    <a:pt x="7492" y="3202"/>
                    <a:pt x="10601" y="3202"/>
                  </a:cubicBezTo>
                  <a:cubicBezTo>
                    <a:pt x="16419" y="3202"/>
                    <a:pt x="16977" y="6928"/>
                    <a:pt x="16977" y="6928"/>
                  </a:cubicBezTo>
                  <a:cubicBezTo>
                    <a:pt x="21361" y="6171"/>
                    <a:pt x="21361" y="6171"/>
                    <a:pt x="21361" y="6171"/>
                  </a:cubicBezTo>
                  <a:cubicBezTo>
                    <a:pt x="21361" y="6171"/>
                    <a:pt x="19926" y="0"/>
                    <a:pt x="10521" y="0"/>
                  </a:cubicBezTo>
                  <a:cubicBezTo>
                    <a:pt x="4224" y="0"/>
                    <a:pt x="0" y="3901"/>
                    <a:pt x="0" y="7569"/>
                  </a:cubicBezTo>
                  <a:cubicBezTo>
                    <a:pt x="0" y="8442"/>
                    <a:pt x="159" y="9548"/>
                    <a:pt x="159" y="9548"/>
                  </a:cubicBezTo>
                  <a:lnTo>
                    <a:pt x="17376" y="14206"/>
                  </a:lnTo>
                  <a:close/>
                </a:path>
              </a:pathLst>
            </a:custGeom>
            <a:solidFill>
              <a:srgbClr val="FFFFFF"/>
            </a:solidFill>
            <a:ln w="3175" cap="flat">
              <a:noFill/>
              <a:miter lim="400000"/>
            </a:ln>
            <a:effectLst/>
          </p:spPr>
          <p:txBody>
            <a:bodyPr wrap="square" lIns="48000" tIns="48000" rIns="48000" bIns="48000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latin typeface="Arial"/>
                  <a:ea typeface="Arial"/>
                  <a:cs typeface="Arial"/>
                  <a:sym typeface="Arial"/>
                </a:defRPr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83" name="Shape 83"/>
            <p:cNvSpPr/>
            <p:nvPr/>
          </p:nvSpPr>
          <p:spPr>
            <a:xfrm>
              <a:off x="542210" y="-1"/>
              <a:ext cx="247329" cy="32999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340" y="0"/>
                  </a:moveTo>
                  <a:cubicBezTo>
                    <a:pt x="18340" y="7624"/>
                    <a:pt x="18340" y="7624"/>
                    <a:pt x="18340" y="7624"/>
                  </a:cubicBezTo>
                  <a:cubicBezTo>
                    <a:pt x="16418" y="6222"/>
                    <a:pt x="13740" y="5345"/>
                    <a:pt x="10829" y="5345"/>
                  </a:cubicBezTo>
                  <a:cubicBezTo>
                    <a:pt x="4832" y="5345"/>
                    <a:pt x="0" y="8982"/>
                    <a:pt x="0" y="13451"/>
                  </a:cubicBezTo>
                  <a:cubicBezTo>
                    <a:pt x="0" y="17963"/>
                    <a:pt x="4832" y="21600"/>
                    <a:pt x="10829" y="21600"/>
                  </a:cubicBezTo>
                  <a:cubicBezTo>
                    <a:pt x="13042" y="21600"/>
                    <a:pt x="15079" y="21118"/>
                    <a:pt x="16826" y="20242"/>
                  </a:cubicBezTo>
                  <a:cubicBezTo>
                    <a:pt x="15021" y="18226"/>
                    <a:pt x="15021" y="18226"/>
                    <a:pt x="15021" y="18226"/>
                  </a:cubicBezTo>
                  <a:cubicBezTo>
                    <a:pt x="13798" y="18840"/>
                    <a:pt x="12343" y="19190"/>
                    <a:pt x="10829" y="19190"/>
                  </a:cubicBezTo>
                  <a:cubicBezTo>
                    <a:pt x="6637" y="19190"/>
                    <a:pt x="3202" y="16605"/>
                    <a:pt x="3202" y="13451"/>
                  </a:cubicBezTo>
                  <a:cubicBezTo>
                    <a:pt x="3202" y="10340"/>
                    <a:pt x="6637" y="7755"/>
                    <a:pt x="10829" y="7755"/>
                  </a:cubicBezTo>
                  <a:cubicBezTo>
                    <a:pt x="14730" y="7755"/>
                    <a:pt x="17932" y="9989"/>
                    <a:pt x="18340" y="12881"/>
                  </a:cubicBezTo>
                  <a:cubicBezTo>
                    <a:pt x="18340" y="21337"/>
                    <a:pt x="18340" y="21337"/>
                    <a:pt x="18340" y="21337"/>
                  </a:cubicBezTo>
                  <a:cubicBezTo>
                    <a:pt x="21600" y="21337"/>
                    <a:pt x="21600" y="21337"/>
                    <a:pt x="21600" y="21337"/>
                  </a:cubicBezTo>
                  <a:cubicBezTo>
                    <a:pt x="21600" y="0"/>
                    <a:pt x="21600" y="0"/>
                    <a:pt x="21600" y="0"/>
                  </a:cubicBezTo>
                  <a:lnTo>
                    <a:pt x="18340" y="0"/>
                  </a:lnTo>
                  <a:close/>
                </a:path>
              </a:pathLst>
            </a:custGeom>
            <a:solidFill>
              <a:srgbClr val="FFFFFF"/>
            </a:solidFill>
            <a:ln w="3175" cap="flat">
              <a:noFill/>
              <a:miter lim="400000"/>
            </a:ln>
            <a:effectLst/>
          </p:spPr>
          <p:txBody>
            <a:bodyPr wrap="square" lIns="48000" tIns="48000" rIns="48000" bIns="48000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latin typeface="Arial"/>
                  <a:ea typeface="Arial"/>
                  <a:cs typeface="Arial"/>
                  <a:sym typeface="Arial"/>
                </a:defRPr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84" name="Shape 84"/>
            <p:cNvSpPr/>
            <p:nvPr/>
          </p:nvSpPr>
          <p:spPr>
            <a:xfrm>
              <a:off x="1325305" y="81553"/>
              <a:ext cx="246662" cy="24844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8389" y="466"/>
                  </a:moveTo>
                  <a:cubicBezTo>
                    <a:pt x="18389" y="3027"/>
                    <a:pt x="18389" y="3027"/>
                    <a:pt x="18389" y="3027"/>
                  </a:cubicBezTo>
                  <a:cubicBezTo>
                    <a:pt x="16404" y="1164"/>
                    <a:pt x="13777" y="0"/>
                    <a:pt x="10800" y="0"/>
                  </a:cubicBezTo>
                  <a:cubicBezTo>
                    <a:pt x="4845" y="0"/>
                    <a:pt x="0" y="4832"/>
                    <a:pt x="0" y="10771"/>
                  </a:cubicBezTo>
                  <a:cubicBezTo>
                    <a:pt x="0" y="16768"/>
                    <a:pt x="4845" y="21600"/>
                    <a:pt x="10800" y="21600"/>
                  </a:cubicBezTo>
                  <a:cubicBezTo>
                    <a:pt x="13077" y="21600"/>
                    <a:pt x="15120" y="20960"/>
                    <a:pt x="16871" y="19795"/>
                  </a:cubicBezTo>
                  <a:cubicBezTo>
                    <a:pt x="15062" y="17117"/>
                    <a:pt x="15062" y="17117"/>
                    <a:pt x="15062" y="17117"/>
                  </a:cubicBezTo>
                  <a:cubicBezTo>
                    <a:pt x="13836" y="17932"/>
                    <a:pt x="12376" y="18398"/>
                    <a:pt x="10800" y="18398"/>
                  </a:cubicBezTo>
                  <a:cubicBezTo>
                    <a:pt x="6597" y="18398"/>
                    <a:pt x="3211" y="14963"/>
                    <a:pt x="3211" y="10771"/>
                  </a:cubicBezTo>
                  <a:cubicBezTo>
                    <a:pt x="3211" y="6637"/>
                    <a:pt x="6597" y="3202"/>
                    <a:pt x="10800" y="3202"/>
                  </a:cubicBezTo>
                  <a:cubicBezTo>
                    <a:pt x="14770" y="3202"/>
                    <a:pt x="17981" y="6171"/>
                    <a:pt x="18389" y="10014"/>
                  </a:cubicBezTo>
                  <a:cubicBezTo>
                    <a:pt x="18389" y="21251"/>
                    <a:pt x="18389" y="21251"/>
                    <a:pt x="18389" y="21251"/>
                  </a:cubicBezTo>
                  <a:cubicBezTo>
                    <a:pt x="21600" y="21251"/>
                    <a:pt x="21600" y="21251"/>
                    <a:pt x="21600" y="21251"/>
                  </a:cubicBezTo>
                  <a:cubicBezTo>
                    <a:pt x="21600" y="466"/>
                    <a:pt x="21600" y="466"/>
                    <a:pt x="21600" y="466"/>
                  </a:cubicBezTo>
                  <a:lnTo>
                    <a:pt x="18389" y="466"/>
                  </a:lnTo>
                  <a:close/>
                </a:path>
              </a:pathLst>
            </a:custGeom>
            <a:solidFill>
              <a:srgbClr val="FFFFFF"/>
            </a:solidFill>
            <a:ln w="3175" cap="flat">
              <a:noFill/>
              <a:miter lim="400000"/>
            </a:ln>
            <a:effectLst/>
          </p:spPr>
          <p:txBody>
            <a:bodyPr wrap="square" lIns="48000" tIns="48000" rIns="48000" bIns="48000" numCol="1" anchor="t">
              <a:no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2400">
                  <a:latin typeface="Arial"/>
                  <a:ea typeface="Arial"/>
                  <a:cs typeface="Arial"/>
                  <a:sym typeface="Arial"/>
                </a:defRPr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86" name="Shape 86"/>
          <p:cNvSpPr>
            <a:spLocks noGrp="1"/>
          </p:cNvSpPr>
          <p:nvPr>
            <p:ph type="sldNum" sz="quarter" idx="2"/>
          </p:nvPr>
        </p:nvSpPr>
        <p:spPr>
          <a:xfrm>
            <a:off x="5923977" y="6540500"/>
            <a:ext cx="337698" cy="253059"/>
          </a:xfrm>
          <a:prstGeom prst="rect">
            <a:avLst/>
          </a:prstGeom>
        </p:spPr>
        <p:txBody>
          <a:bodyPr lIns="33866" tIns="33866" rIns="33866" bIns="33866" anchor="t"/>
          <a:lstStyle>
            <a:lvl1pPr algn="ctr" defTabSz="412750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hangingPunct="0"/>
            <a:fld id="{86CB4B4D-7CA3-9044-876B-883B54F8677D}" type="slidenum">
              <a:rPr lang="es-ES" kern="0" smtClean="0"/>
              <a:pPr hangingPunct="0"/>
              <a:t>‹Nº›</a:t>
            </a:fld>
            <a:endParaRPr lang="es-ES" kern="0"/>
          </a:p>
        </p:txBody>
      </p:sp>
    </p:spTree>
    <p:extLst>
      <p:ext uri="{BB962C8B-B14F-4D97-AF65-F5344CB8AC3E}">
        <p14:creationId xmlns:p14="http://schemas.microsoft.com/office/powerpoint/2010/main" val="3612593629"/>
      </p:ext>
    </p:extLst>
  </p:cSld>
  <p:clrMapOvr>
    <a:masterClrMapping/>
  </p:clrMapOvr>
  <p:transition spd="med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ítulo y subtítulo copia 1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Shape 93"/>
          <p:cNvSpPr>
            <a:spLocks noGrp="1"/>
          </p:cNvSpPr>
          <p:nvPr>
            <p:ph type="sldNum" sz="quarter" idx="2"/>
          </p:nvPr>
        </p:nvSpPr>
        <p:spPr>
          <a:xfrm>
            <a:off x="5923977" y="6540500"/>
            <a:ext cx="337698" cy="253059"/>
          </a:xfrm>
          <a:prstGeom prst="rect">
            <a:avLst/>
          </a:prstGeom>
        </p:spPr>
        <p:txBody>
          <a:bodyPr lIns="33866" tIns="33866" rIns="33866" bIns="33866" anchor="t"/>
          <a:lstStyle>
            <a:lvl1pPr algn="ctr" defTabSz="412750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Helvetica Light"/>
              </a:defRPr>
            </a:lvl1pPr>
          </a:lstStyle>
          <a:p>
            <a:pPr hangingPunct="0"/>
            <a:fld id="{86CB4B4D-7CA3-9044-876B-883B54F8677D}" type="slidenum">
              <a:rPr lang="es-ES" kern="0" smtClean="0"/>
              <a:pPr hangingPunct="0"/>
              <a:t>‹Nº›</a:t>
            </a:fld>
            <a:endParaRPr lang="es-ES" kern="0"/>
          </a:p>
        </p:txBody>
      </p:sp>
    </p:spTree>
    <p:extLst>
      <p:ext uri="{BB962C8B-B14F-4D97-AF65-F5344CB8AC3E}">
        <p14:creationId xmlns:p14="http://schemas.microsoft.com/office/powerpoint/2010/main" val="675895352"/>
      </p:ext>
    </p:extLst>
  </p:cSld>
  <p:clrMapOvr>
    <a:masterClrMapping/>
  </p:clrMapOvr>
  <p:transition spd="med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188384" y="6385027"/>
            <a:ext cx="394017" cy="307775"/>
          </a:xfrm>
          <a:prstGeom prst="rect">
            <a:avLst/>
          </a:prstGeom>
        </p:spPr>
        <p:txBody>
          <a:bodyPr/>
          <a:lstStyle>
            <a:lvl1pPr>
              <a:defRPr lang="es-ES" smtClean="0"/>
            </a:lvl1pPr>
          </a:lstStyle>
          <a:p>
            <a:pPr hangingPunct="0"/>
            <a:fld id="{5FE53D8A-B4D9-41DC-B36A-034F02C2EBB3}" type="slidenum">
              <a:rPr lang="es-ES" kern="0" smtClean="0"/>
              <a:pPr hangingPunct="0"/>
              <a:t>‹Nº›</a:t>
            </a:fld>
            <a:endParaRPr lang="es-ES" kern="0"/>
          </a:p>
        </p:txBody>
      </p:sp>
      <p:pic>
        <p:nvPicPr>
          <p:cNvPr id="3" name="Imagen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1883" y="6356350"/>
            <a:ext cx="652208" cy="365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402340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Header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0959784" y="6385026"/>
            <a:ext cx="394017" cy="3077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hangingPunct="0"/>
            <a:fld id="{1ED2235E-0982-3B42-A838-A74550CD4449}" type="slidenum">
              <a:rPr lang="en-GB" kern="0" smtClean="0">
                <a:solidFill>
                  <a:prstClr val="white"/>
                </a:solidFill>
              </a:rPr>
              <a:pPr hangingPunct="0"/>
              <a:t>‹Nº›</a:t>
            </a:fld>
            <a:endParaRPr lang="en-GB" kern="0" dirty="0">
              <a:solidFill>
                <a:prstClr val="white"/>
              </a:solidFill>
            </a:endParaRPr>
          </a:p>
        </p:txBody>
      </p:sp>
      <p:sp>
        <p:nvSpPr>
          <p:cNvPr id="13" name="Title 9"/>
          <p:cNvSpPr>
            <a:spLocks noGrp="1"/>
          </p:cNvSpPr>
          <p:nvPr>
            <p:ph type="title" hasCustomPrompt="1"/>
          </p:nvPr>
        </p:nvSpPr>
        <p:spPr>
          <a:xfrm>
            <a:off x="2375428" y="615088"/>
            <a:ext cx="6003399" cy="3496539"/>
          </a:xfrm>
        </p:spPr>
        <p:txBody>
          <a:bodyPr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</a:t>
            </a:r>
            <a:br>
              <a:rPr lang="en-GB" dirty="0" smtClean="0"/>
            </a:br>
            <a:r>
              <a:rPr lang="en-GB" dirty="0" smtClean="0"/>
              <a:t>Master title style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137525" y="141701"/>
            <a:ext cx="1901985" cy="659559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0" marR="0" lvl="0" indent="0" algn="ctr" defTabSz="410765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 Light"/>
              <a:sym typeface="Helvetica Light"/>
            </a:endParaRPr>
          </a:p>
        </p:txBody>
      </p:sp>
      <p:grpSp>
        <p:nvGrpSpPr>
          <p:cNvPr id="11" name="Group 5"/>
          <p:cNvGrpSpPr>
            <a:grpSpLocks noChangeAspect="1"/>
          </p:cNvGrpSpPr>
          <p:nvPr userDrawn="1"/>
        </p:nvGrpSpPr>
        <p:grpSpPr bwMode="auto">
          <a:xfrm>
            <a:off x="9550932" y="689734"/>
            <a:ext cx="1872112" cy="393001"/>
            <a:chOff x="-3303" y="-29"/>
            <a:chExt cx="7074" cy="1485"/>
          </a:xfrm>
          <a:solidFill>
            <a:schemeClr val="bg1"/>
          </a:solidFill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-3303" y="338"/>
              <a:ext cx="1107" cy="1118"/>
            </a:xfrm>
            <a:custGeom>
              <a:avLst/>
              <a:gdLst/>
              <a:ahLst/>
              <a:cxnLst>
                <a:cxn ang="0">
                  <a:pos x="369" y="153"/>
                </a:cxn>
                <a:cxn ang="0">
                  <a:pos x="186" y="0"/>
                </a:cxn>
                <a:cxn ang="0">
                  <a:pos x="0" y="185"/>
                </a:cxn>
                <a:cxn ang="0">
                  <a:pos x="186" y="371"/>
                </a:cxn>
                <a:cxn ang="0">
                  <a:pos x="333" y="298"/>
                </a:cxn>
                <a:cxn ang="0">
                  <a:pos x="289" y="265"/>
                </a:cxn>
                <a:cxn ang="0">
                  <a:pos x="186" y="316"/>
                </a:cxn>
                <a:cxn ang="0">
                  <a:pos x="56" y="185"/>
                </a:cxn>
                <a:cxn ang="0">
                  <a:pos x="186" y="55"/>
                </a:cxn>
                <a:cxn ang="0">
                  <a:pos x="313" y="153"/>
                </a:cxn>
                <a:cxn ang="0">
                  <a:pos x="175" y="153"/>
                </a:cxn>
                <a:cxn ang="0">
                  <a:pos x="175" y="209"/>
                </a:cxn>
                <a:cxn ang="0">
                  <a:pos x="369" y="209"/>
                </a:cxn>
                <a:cxn ang="0">
                  <a:pos x="369" y="153"/>
                </a:cxn>
              </a:cxnLst>
              <a:rect l="0" t="0" r="r" b="b"/>
              <a:pathLst>
                <a:path w="369" h="371">
                  <a:moveTo>
                    <a:pt x="369" y="153"/>
                  </a:moveTo>
                  <a:cubicBezTo>
                    <a:pt x="354" y="66"/>
                    <a:pt x="278" y="0"/>
                    <a:pt x="186" y="0"/>
                  </a:cubicBezTo>
                  <a:cubicBezTo>
                    <a:pt x="84" y="0"/>
                    <a:pt x="0" y="83"/>
                    <a:pt x="0" y="185"/>
                  </a:cubicBezTo>
                  <a:cubicBezTo>
                    <a:pt x="0" y="288"/>
                    <a:pt x="84" y="371"/>
                    <a:pt x="186" y="371"/>
                  </a:cubicBezTo>
                  <a:cubicBezTo>
                    <a:pt x="246" y="371"/>
                    <a:pt x="299" y="343"/>
                    <a:pt x="333" y="298"/>
                  </a:cubicBezTo>
                  <a:cubicBezTo>
                    <a:pt x="289" y="265"/>
                    <a:pt x="289" y="265"/>
                    <a:pt x="289" y="265"/>
                  </a:cubicBezTo>
                  <a:cubicBezTo>
                    <a:pt x="266" y="296"/>
                    <a:pt x="228" y="316"/>
                    <a:pt x="186" y="316"/>
                  </a:cubicBezTo>
                  <a:cubicBezTo>
                    <a:pt x="114" y="316"/>
                    <a:pt x="56" y="257"/>
                    <a:pt x="56" y="185"/>
                  </a:cubicBezTo>
                  <a:cubicBezTo>
                    <a:pt x="56" y="114"/>
                    <a:pt x="114" y="55"/>
                    <a:pt x="186" y="55"/>
                  </a:cubicBezTo>
                  <a:cubicBezTo>
                    <a:pt x="247" y="55"/>
                    <a:pt x="299" y="97"/>
                    <a:pt x="313" y="153"/>
                  </a:cubicBezTo>
                  <a:cubicBezTo>
                    <a:pt x="175" y="153"/>
                    <a:pt x="175" y="153"/>
                    <a:pt x="175" y="153"/>
                  </a:cubicBezTo>
                  <a:cubicBezTo>
                    <a:pt x="175" y="209"/>
                    <a:pt x="175" y="209"/>
                    <a:pt x="175" y="209"/>
                  </a:cubicBezTo>
                  <a:cubicBezTo>
                    <a:pt x="369" y="209"/>
                    <a:pt x="369" y="209"/>
                    <a:pt x="369" y="209"/>
                  </a:cubicBezTo>
                  <a:lnTo>
                    <a:pt x="369" y="15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10765" rtl="0" eaLnBrk="1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" charset="0"/>
                <a:cs typeface="Arial" charset="0"/>
                <a:sym typeface="Helvetica Light"/>
              </a:endParaRPr>
            </a:p>
          </p:txBody>
        </p:sp>
        <p:sp>
          <p:nvSpPr>
            <p:cNvPr id="14" name="Freeform 7"/>
            <p:cNvSpPr>
              <a:spLocks/>
            </p:cNvSpPr>
            <p:nvPr/>
          </p:nvSpPr>
          <p:spPr bwMode="auto">
            <a:xfrm>
              <a:off x="416" y="338"/>
              <a:ext cx="1107" cy="1118"/>
            </a:xfrm>
            <a:custGeom>
              <a:avLst/>
              <a:gdLst/>
              <a:ahLst/>
              <a:cxnLst>
                <a:cxn ang="0">
                  <a:pos x="369" y="153"/>
                </a:cxn>
                <a:cxn ang="0">
                  <a:pos x="186" y="0"/>
                </a:cxn>
                <a:cxn ang="0">
                  <a:pos x="0" y="185"/>
                </a:cxn>
                <a:cxn ang="0">
                  <a:pos x="186" y="371"/>
                </a:cxn>
                <a:cxn ang="0">
                  <a:pos x="333" y="298"/>
                </a:cxn>
                <a:cxn ang="0">
                  <a:pos x="289" y="265"/>
                </a:cxn>
                <a:cxn ang="0">
                  <a:pos x="186" y="316"/>
                </a:cxn>
                <a:cxn ang="0">
                  <a:pos x="55" y="185"/>
                </a:cxn>
                <a:cxn ang="0">
                  <a:pos x="186" y="55"/>
                </a:cxn>
                <a:cxn ang="0">
                  <a:pos x="312" y="153"/>
                </a:cxn>
                <a:cxn ang="0">
                  <a:pos x="175" y="153"/>
                </a:cxn>
                <a:cxn ang="0">
                  <a:pos x="175" y="209"/>
                </a:cxn>
                <a:cxn ang="0">
                  <a:pos x="369" y="209"/>
                </a:cxn>
                <a:cxn ang="0">
                  <a:pos x="369" y="153"/>
                </a:cxn>
              </a:cxnLst>
              <a:rect l="0" t="0" r="r" b="b"/>
              <a:pathLst>
                <a:path w="369" h="371">
                  <a:moveTo>
                    <a:pt x="369" y="153"/>
                  </a:moveTo>
                  <a:cubicBezTo>
                    <a:pt x="354" y="66"/>
                    <a:pt x="277" y="0"/>
                    <a:pt x="186" y="0"/>
                  </a:cubicBezTo>
                  <a:cubicBezTo>
                    <a:pt x="83" y="0"/>
                    <a:pt x="0" y="83"/>
                    <a:pt x="0" y="185"/>
                  </a:cubicBezTo>
                  <a:cubicBezTo>
                    <a:pt x="0" y="288"/>
                    <a:pt x="83" y="371"/>
                    <a:pt x="186" y="371"/>
                  </a:cubicBezTo>
                  <a:cubicBezTo>
                    <a:pt x="246" y="371"/>
                    <a:pt x="299" y="343"/>
                    <a:pt x="333" y="298"/>
                  </a:cubicBezTo>
                  <a:cubicBezTo>
                    <a:pt x="289" y="265"/>
                    <a:pt x="289" y="265"/>
                    <a:pt x="289" y="265"/>
                  </a:cubicBezTo>
                  <a:cubicBezTo>
                    <a:pt x="265" y="296"/>
                    <a:pt x="228" y="316"/>
                    <a:pt x="186" y="316"/>
                  </a:cubicBezTo>
                  <a:cubicBezTo>
                    <a:pt x="114" y="316"/>
                    <a:pt x="55" y="257"/>
                    <a:pt x="55" y="185"/>
                  </a:cubicBezTo>
                  <a:cubicBezTo>
                    <a:pt x="55" y="114"/>
                    <a:pt x="114" y="55"/>
                    <a:pt x="186" y="55"/>
                  </a:cubicBezTo>
                  <a:cubicBezTo>
                    <a:pt x="246" y="55"/>
                    <a:pt x="298" y="97"/>
                    <a:pt x="312" y="153"/>
                  </a:cubicBezTo>
                  <a:cubicBezTo>
                    <a:pt x="175" y="153"/>
                    <a:pt x="175" y="153"/>
                    <a:pt x="175" y="153"/>
                  </a:cubicBezTo>
                  <a:cubicBezTo>
                    <a:pt x="175" y="209"/>
                    <a:pt x="175" y="209"/>
                    <a:pt x="175" y="209"/>
                  </a:cubicBezTo>
                  <a:cubicBezTo>
                    <a:pt x="369" y="209"/>
                    <a:pt x="369" y="209"/>
                    <a:pt x="369" y="209"/>
                  </a:cubicBezTo>
                  <a:lnTo>
                    <a:pt x="369" y="15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10765" rtl="0" eaLnBrk="1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" charset="0"/>
                <a:cs typeface="Arial" charset="0"/>
                <a:sym typeface="Helvetica Light"/>
              </a:endParaRPr>
            </a:p>
          </p:txBody>
        </p:sp>
        <p:sp>
          <p:nvSpPr>
            <p:cNvPr id="15" name="Freeform 8"/>
            <p:cNvSpPr>
              <a:spLocks noChangeAspect="1"/>
            </p:cNvSpPr>
            <p:nvPr/>
          </p:nvSpPr>
          <p:spPr bwMode="auto">
            <a:xfrm>
              <a:off x="-2027" y="338"/>
              <a:ext cx="999" cy="1100"/>
            </a:xfrm>
            <a:custGeom>
              <a:avLst/>
              <a:gdLst/>
              <a:ahLst/>
              <a:cxnLst>
                <a:cxn ang="0">
                  <a:pos x="333" y="153"/>
                </a:cxn>
                <a:cxn ang="0">
                  <a:pos x="179" y="0"/>
                </a:cxn>
                <a:cxn ang="0">
                  <a:pos x="55" y="50"/>
                </a:cxn>
                <a:cxn ang="0">
                  <a:pos x="55" y="15"/>
                </a:cxn>
                <a:cxn ang="0">
                  <a:pos x="0" y="15"/>
                </a:cxn>
                <a:cxn ang="0">
                  <a:pos x="0" y="209"/>
                </a:cxn>
                <a:cxn ang="0">
                  <a:pos x="55" y="209"/>
                </a:cxn>
                <a:cxn ang="0">
                  <a:pos x="55" y="163"/>
                </a:cxn>
                <a:cxn ang="0">
                  <a:pos x="179" y="55"/>
                </a:cxn>
                <a:cxn ang="0">
                  <a:pos x="277" y="153"/>
                </a:cxn>
                <a:cxn ang="0">
                  <a:pos x="277" y="365"/>
                </a:cxn>
                <a:cxn ang="0">
                  <a:pos x="333" y="365"/>
                </a:cxn>
                <a:cxn ang="0">
                  <a:pos x="333" y="153"/>
                </a:cxn>
              </a:cxnLst>
              <a:rect l="0" t="0" r="r" b="b"/>
              <a:pathLst>
                <a:path w="333" h="365">
                  <a:moveTo>
                    <a:pt x="333" y="153"/>
                  </a:moveTo>
                  <a:cubicBezTo>
                    <a:pt x="333" y="68"/>
                    <a:pt x="263" y="0"/>
                    <a:pt x="179" y="0"/>
                  </a:cubicBezTo>
                  <a:cubicBezTo>
                    <a:pt x="130" y="0"/>
                    <a:pt x="87" y="19"/>
                    <a:pt x="55" y="50"/>
                  </a:cubicBezTo>
                  <a:cubicBezTo>
                    <a:pt x="55" y="15"/>
                    <a:pt x="55" y="15"/>
                    <a:pt x="55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55" y="209"/>
                    <a:pt x="55" y="209"/>
                    <a:pt x="55" y="209"/>
                  </a:cubicBezTo>
                  <a:cubicBezTo>
                    <a:pt x="55" y="163"/>
                    <a:pt x="55" y="163"/>
                    <a:pt x="55" y="163"/>
                  </a:cubicBezTo>
                  <a:cubicBezTo>
                    <a:pt x="64" y="118"/>
                    <a:pt x="103" y="55"/>
                    <a:pt x="179" y="55"/>
                  </a:cubicBezTo>
                  <a:cubicBezTo>
                    <a:pt x="233" y="55"/>
                    <a:pt x="277" y="98"/>
                    <a:pt x="277" y="153"/>
                  </a:cubicBezTo>
                  <a:cubicBezTo>
                    <a:pt x="277" y="365"/>
                    <a:pt x="277" y="365"/>
                    <a:pt x="277" y="365"/>
                  </a:cubicBezTo>
                  <a:cubicBezTo>
                    <a:pt x="333" y="365"/>
                    <a:pt x="333" y="365"/>
                    <a:pt x="333" y="365"/>
                  </a:cubicBezTo>
                  <a:lnTo>
                    <a:pt x="333" y="15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10765" rtl="0" eaLnBrk="1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" charset="0"/>
                <a:cs typeface="Arial" charset="0"/>
                <a:sym typeface="Helvetica Light"/>
              </a:endParaRPr>
            </a:p>
          </p:txBody>
        </p:sp>
        <p:sp>
          <p:nvSpPr>
            <p:cNvPr id="16" name="Freeform 9"/>
            <p:cNvSpPr>
              <a:spLocks/>
            </p:cNvSpPr>
            <p:nvPr/>
          </p:nvSpPr>
          <p:spPr bwMode="auto">
            <a:xfrm>
              <a:off x="1688" y="338"/>
              <a:ext cx="813" cy="1118"/>
            </a:xfrm>
            <a:custGeom>
              <a:avLst/>
              <a:gdLst/>
              <a:ahLst/>
              <a:cxnLst>
                <a:cxn ang="0">
                  <a:pos x="218" y="244"/>
                </a:cxn>
                <a:cxn ang="0">
                  <a:pos x="135" y="316"/>
                </a:cxn>
                <a:cxn ang="0">
                  <a:pos x="56" y="249"/>
                </a:cxn>
                <a:cxn ang="0">
                  <a:pos x="1" y="263"/>
                </a:cxn>
                <a:cxn ang="0">
                  <a:pos x="136" y="371"/>
                </a:cxn>
                <a:cxn ang="0">
                  <a:pos x="271" y="236"/>
                </a:cxn>
                <a:cxn ang="0">
                  <a:pos x="269" y="208"/>
                </a:cxn>
                <a:cxn ang="0">
                  <a:pos x="268" y="203"/>
                </a:cxn>
                <a:cxn ang="0">
                  <a:pos x="55" y="125"/>
                </a:cxn>
                <a:cxn ang="0">
                  <a:pos x="133" y="55"/>
                </a:cxn>
                <a:cxn ang="0">
                  <a:pos x="213" y="119"/>
                </a:cxn>
                <a:cxn ang="0">
                  <a:pos x="268" y="106"/>
                </a:cxn>
                <a:cxn ang="0">
                  <a:pos x="132" y="0"/>
                </a:cxn>
                <a:cxn ang="0">
                  <a:pos x="0" y="130"/>
                </a:cxn>
                <a:cxn ang="0">
                  <a:pos x="2" y="164"/>
                </a:cxn>
                <a:cxn ang="0">
                  <a:pos x="218" y="244"/>
                </a:cxn>
              </a:cxnLst>
              <a:rect l="0" t="0" r="r" b="b"/>
              <a:pathLst>
                <a:path w="271" h="371">
                  <a:moveTo>
                    <a:pt x="218" y="244"/>
                  </a:moveTo>
                  <a:cubicBezTo>
                    <a:pt x="218" y="284"/>
                    <a:pt x="180" y="316"/>
                    <a:pt x="135" y="316"/>
                  </a:cubicBezTo>
                  <a:cubicBezTo>
                    <a:pt x="65" y="316"/>
                    <a:pt x="56" y="249"/>
                    <a:pt x="56" y="249"/>
                  </a:cubicBezTo>
                  <a:cubicBezTo>
                    <a:pt x="1" y="263"/>
                    <a:pt x="1" y="263"/>
                    <a:pt x="1" y="263"/>
                  </a:cubicBezTo>
                  <a:cubicBezTo>
                    <a:pt x="1" y="263"/>
                    <a:pt x="21" y="371"/>
                    <a:pt x="136" y="371"/>
                  </a:cubicBezTo>
                  <a:cubicBezTo>
                    <a:pt x="221" y="371"/>
                    <a:pt x="271" y="302"/>
                    <a:pt x="271" y="236"/>
                  </a:cubicBezTo>
                  <a:cubicBezTo>
                    <a:pt x="271" y="221"/>
                    <a:pt x="271" y="216"/>
                    <a:pt x="269" y="208"/>
                  </a:cubicBezTo>
                  <a:cubicBezTo>
                    <a:pt x="268" y="203"/>
                    <a:pt x="268" y="203"/>
                    <a:pt x="268" y="203"/>
                  </a:cubicBezTo>
                  <a:cubicBezTo>
                    <a:pt x="55" y="125"/>
                    <a:pt x="55" y="125"/>
                    <a:pt x="55" y="125"/>
                  </a:cubicBezTo>
                  <a:cubicBezTo>
                    <a:pt x="60" y="92"/>
                    <a:pt x="94" y="55"/>
                    <a:pt x="133" y="55"/>
                  </a:cubicBezTo>
                  <a:cubicBezTo>
                    <a:pt x="206" y="55"/>
                    <a:pt x="213" y="119"/>
                    <a:pt x="213" y="119"/>
                  </a:cubicBezTo>
                  <a:cubicBezTo>
                    <a:pt x="268" y="106"/>
                    <a:pt x="268" y="106"/>
                    <a:pt x="268" y="106"/>
                  </a:cubicBezTo>
                  <a:cubicBezTo>
                    <a:pt x="268" y="106"/>
                    <a:pt x="250" y="0"/>
                    <a:pt x="132" y="0"/>
                  </a:cubicBezTo>
                  <a:cubicBezTo>
                    <a:pt x="53" y="0"/>
                    <a:pt x="0" y="67"/>
                    <a:pt x="0" y="130"/>
                  </a:cubicBezTo>
                  <a:cubicBezTo>
                    <a:pt x="0" y="145"/>
                    <a:pt x="2" y="164"/>
                    <a:pt x="2" y="164"/>
                  </a:cubicBezTo>
                  <a:lnTo>
                    <a:pt x="218" y="24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10765" rtl="0" eaLnBrk="1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" charset="0"/>
                <a:cs typeface="Arial" charset="0"/>
                <a:sym typeface="Helvetica Light"/>
              </a:endParaRPr>
            </a:p>
          </p:txBody>
        </p:sp>
        <p:sp>
          <p:nvSpPr>
            <p:cNvPr id="18" name="Freeform 10"/>
            <p:cNvSpPr>
              <a:spLocks/>
            </p:cNvSpPr>
            <p:nvPr/>
          </p:nvSpPr>
          <p:spPr bwMode="auto">
            <a:xfrm>
              <a:off x="-863" y="-29"/>
              <a:ext cx="1113" cy="1485"/>
            </a:xfrm>
            <a:custGeom>
              <a:avLst/>
              <a:gdLst/>
              <a:ahLst/>
              <a:cxnLst>
                <a:cxn ang="0">
                  <a:pos x="315" y="0"/>
                </a:cxn>
                <a:cxn ang="0">
                  <a:pos x="315" y="174"/>
                </a:cxn>
                <a:cxn ang="0">
                  <a:pos x="186" y="122"/>
                </a:cxn>
                <a:cxn ang="0">
                  <a:pos x="0" y="307"/>
                </a:cxn>
                <a:cxn ang="0">
                  <a:pos x="186" y="493"/>
                </a:cxn>
                <a:cxn ang="0">
                  <a:pos x="289" y="462"/>
                </a:cxn>
                <a:cxn ang="0">
                  <a:pos x="258" y="416"/>
                </a:cxn>
                <a:cxn ang="0">
                  <a:pos x="186" y="438"/>
                </a:cxn>
                <a:cxn ang="0">
                  <a:pos x="55" y="307"/>
                </a:cxn>
                <a:cxn ang="0">
                  <a:pos x="186" y="177"/>
                </a:cxn>
                <a:cxn ang="0">
                  <a:pos x="315" y="294"/>
                </a:cxn>
                <a:cxn ang="0">
                  <a:pos x="315" y="487"/>
                </a:cxn>
                <a:cxn ang="0">
                  <a:pos x="371" y="487"/>
                </a:cxn>
                <a:cxn ang="0">
                  <a:pos x="371" y="0"/>
                </a:cxn>
                <a:cxn ang="0">
                  <a:pos x="315" y="0"/>
                </a:cxn>
              </a:cxnLst>
              <a:rect l="0" t="0" r="r" b="b"/>
              <a:pathLst>
                <a:path w="371" h="493">
                  <a:moveTo>
                    <a:pt x="315" y="0"/>
                  </a:moveTo>
                  <a:cubicBezTo>
                    <a:pt x="315" y="174"/>
                    <a:pt x="315" y="174"/>
                    <a:pt x="315" y="174"/>
                  </a:cubicBezTo>
                  <a:cubicBezTo>
                    <a:pt x="282" y="142"/>
                    <a:pt x="236" y="122"/>
                    <a:pt x="186" y="122"/>
                  </a:cubicBezTo>
                  <a:cubicBezTo>
                    <a:pt x="83" y="122"/>
                    <a:pt x="0" y="205"/>
                    <a:pt x="0" y="307"/>
                  </a:cubicBezTo>
                  <a:cubicBezTo>
                    <a:pt x="0" y="410"/>
                    <a:pt x="83" y="493"/>
                    <a:pt x="186" y="493"/>
                  </a:cubicBezTo>
                  <a:cubicBezTo>
                    <a:pt x="224" y="493"/>
                    <a:pt x="259" y="482"/>
                    <a:pt x="289" y="462"/>
                  </a:cubicBezTo>
                  <a:cubicBezTo>
                    <a:pt x="258" y="416"/>
                    <a:pt x="258" y="416"/>
                    <a:pt x="258" y="416"/>
                  </a:cubicBezTo>
                  <a:cubicBezTo>
                    <a:pt x="237" y="430"/>
                    <a:pt x="212" y="438"/>
                    <a:pt x="186" y="438"/>
                  </a:cubicBezTo>
                  <a:cubicBezTo>
                    <a:pt x="114" y="438"/>
                    <a:pt x="55" y="379"/>
                    <a:pt x="55" y="307"/>
                  </a:cubicBezTo>
                  <a:cubicBezTo>
                    <a:pt x="55" y="236"/>
                    <a:pt x="114" y="177"/>
                    <a:pt x="186" y="177"/>
                  </a:cubicBezTo>
                  <a:cubicBezTo>
                    <a:pt x="253" y="177"/>
                    <a:pt x="308" y="228"/>
                    <a:pt x="315" y="294"/>
                  </a:cubicBezTo>
                  <a:cubicBezTo>
                    <a:pt x="315" y="487"/>
                    <a:pt x="315" y="487"/>
                    <a:pt x="315" y="487"/>
                  </a:cubicBezTo>
                  <a:cubicBezTo>
                    <a:pt x="371" y="487"/>
                    <a:pt x="371" y="487"/>
                    <a:pt x="371" y="487"/>
                  </a:cubicBezTo>
                  <a:cubicBezTo>
                    <a:pt x="371" y="0"/>
                    <a:pt x="371" y="0"/>
                    <a:pt x="371" y="0"/>
                  </a:cubicBezTo>
                  <a:lnTo>
                    <a:pt x="31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10765" rtl="0" eaLnBrk="1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" charset="0"/>
                <a:cs typeface="Arial" charset="0"/>
                <a:sym typeface="Helvetica Light"/>
              </a:endParaRPr>
            </a:p>
          </p:txBody>
        </p:sp>
        <p:sp>
          <p:nvSpPr>
            <p:cNvPr id="19" name="Freeform 11"/>
            <p:cNvSpPr>
              <a:spLocks/>
            </p:cNvSpPr>
            <p:nvPr/>
          </p:nvSpPr>
          <p:spPr bwMode="auto">
            <a:xfrm>
              <a:off x="2661" y="338"/>
              <a:ext cx="1110" cy="1118"/>
            </a:xfrm>
            <a:custGeom>
              <a:avLst/>
              <a:gdLst/>
              <a:ahLst/>
              <a:cxnLst>
                <a:cxn ang="0">
                  <a:pos x="315" y="8"/>
                </a:cxn>
                <a:cxn ang="0">
                  <a:pos x="315" y="52"/>
                </a:cxn>
                <a:cxn ang="0">
                  <a:pos x="185" y="0"/>
                </a:cxn>
                <a:cxn ang="0">
                  <a:pos x="0" y="185"/>
                </a:cxn>
                <a:cxn ang="0">
                  <a:pos x="185" y="371"/>
                </a:cxn>
                <a:cxn ang="0">
                  <a:pos x="289" y="340"/>
                </a:cxn>
                <a:cxn ang="0">
                  <a:pos x="258" y="294"/>
                </a:cxn>
                <a:cxn ang="0">
                  <a:pos x="185" y="316"/>
                </a:cxn>
                <a:cxn ang="0">
                  <a:pos x="55" y="185"/>
                </a:cxn>
                <a:cxn ang="0">
                  <a:pos x="185" y="55"/>
                </a:cxn>
                <a:cxn ang="0">
                  <a:pos x="315" y="172"/>
                </a:cxn>
                <a:cxn ang="0">
                  <a:pos x="315" y="365"/>
                </a:cxn>
                <a:cxn ang="0">
                  <a:pos x="370" y="365"/>
                </a:cxn>
                <a:cxn ang="0">
                  <a:pos x="370" y="8"/>
                </a:cxn>
                <a:cxn ang="0">
                  <a:pos x="315" y="8"/>
                </a:cxn>
              </a:cxnLst>
              <a:rect l="0" t="0" r="r" b="b"/>
              <a:pathLst>
                <a:path w="370" h="371">
                  <a:moveTo>
                    <a:pt x="315" y="8"/>
                  </a:moveTo>
                  <a:cubicBezTo>
                    <a:pt x="315" y="52"/>
                    <a:pt x="315" y="52"/>
                    <a:pt x="315" y="52"/>
                  </a:cubicBezTo>
                  <a:cubicBezTo>
                    <a:pt x="281" y="20"/>
                    <a:pt x="236" y="0"/>
                    <a:pt x="185" y="0"/>
                  </a:cubicBezTo>
                  <a:cubicBezTo>
                    <a:pt x="83" y="0"/>
                    <a:pt x="0" y="83"/>
                    <a:pt x="0" y="185"/>
                  </a:cubicBezTo>
                  <a:cubicBezTo>
                    <a:pt x="0" y="288"/>
                    <a:pt x="83" y="371"/>
                    <a:pt x="185" y="371"/>
                  </a:cubicBezTo>
                  <a:cubicBezTo>
                    <a:pt x="224" y="371"/>
                    <a:pt x="259" y="360"/>
                    <a:pt x="289" y="340"/>
                  </a:cubicBezTo>
                  <a:cubicBezTo>
                    <a:pt x="258" y="294"/>
                    <a:pt x="258" y="294"/>
                    <a:pt x="258" y="294"/>
                  </a:cubicBezTo>
                  <a:cubicBezTo>
                    <a:pt x="237" y="308"/>
                    <a:pt x="212" y="316"/>
                    <a:pt x="185" y="316"/>
                  </a:cubicBezTo>
                  <a:cubicBezTo>
                    <a:pt x="113" y="316"/>
                    <a:pt x="55" y="257"/>
                    <a:pt x="55" y="185"/>
                  </a:cubicBezTo>
                  <a:cubicBezTo>
                    <a:pt x="55" y="114"/>
                    <a:pt x="113" y="55"/>
                    <a:pt x="185" y="55"/>
                  </a:cubicBezTo>
                  <a:cubicBezTo>
                    <a:pt x="253" y="55"/>
                    <a:pt x="308" y="106"/>
                    <a:pt x="315" y="172"/>
                  </a:cubicBezTo>
                  <a:cubicBezTo>
                    <a:pt x="315" y="365"/>
                    <a:pt x="315" y="365"/>
                    <a:pt x="315" y="365"/>
                  </a:cubicBezTo>
                  <a:cubicBezTo>
                    <a:pt x="370" y="365"/>
                    <a:pt x="370" y="365"/>
                    <a:pt x="370" y="365"/>
                  </a:cubicBezTo>
                  <a:cubicBezTo>
                    <a:pt x="370" y="8"/>
                    <a:pt x="370" y="8"/>
                    <a:pt x="370" y="8"/>
                  </a:cubicBezTo>
                  <a:lnTo>
                    <a:pt x="315" y="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10765" rtl="0" eaLnBrk="1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" charset="0"/>
                <a:cs typeface="Arial" charset="0"/>
                <a:sym typeface="Helvetica Light"/>
              </a:endParaRPr>
            </a:p>
          </p:txBody>
        </p:sp>
      </p:grpSp>
      <p:sp>
        <p:nvSpPr>
          <p:cNvPr id="2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82827" y="6264005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pPr defTabSz="410765" hangingPunct="0"/>
            <a:r>
              <a:rPr lang="en-GB" kern="0" smtClean="0">
                <a:solidFill>
                  <a:prstClr val="white"/>
                </a:solidFill>
                <a:sym typeface="Helvetica Light"/>
              </a:rPr>
              <a:t>Presentation footer 10PT. Please add the relevant country to the footer.</a:t>
            </a:r>
            <a:endParaRPr lang="en-GB" kern="0" dirty="0">
              <a:solidFill>
                <a:prstClr val="white"/>
              </a:solidFill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414582033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Messag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B24414-157C-4E69-A9F5-19F03774F561}" type="datetime1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/06/2018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sentation footer 10PT. Please add the relevant country to the footer.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D2235E-0982-3B42-A838-A74550CD4449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 userDrawn="1"/>
        </p:nvSpPr>
        <p:spPr>
          <a:xfrm rot="5400000">
            <a:off x="1845391" y="-394416"/>
            <a:ext cx="878042" cy="30448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655F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72211" y="1905918"/>
            <a:ext cx="7606614" cy="3577306"/>
          </a:xfrm>
        </p:spPr>
        <p:txBody>
          <a:bodyPr/>
          <a:lstStyle>
            <a:lvl1pPr>
              <a:defRPr sz="48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16945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pPr algn="ctr" defTabSz="410765" hangingPunct="0"/>
            <a:fld id="{DFB5A2FC-F01D-4334-B405-876FBDB2F17B}" type="datetime1">
              <a:rPr lang="en-GB" sz="2400" kern="0" smtClean="0">
                <a:solidFill>
                  <a:srgbClr val="000000"/>
                </a:solidFill>
                <a:sym typeface="Helvetica Light"/>
              </a:rPr>
              <a:pPr algn="ctr" defTabSz="410765" hangingPunct="0"/>
              <a:t>15/06/2018</a:t>
            </a:fld>
            <a:endParaRPr lang="en-GB" sz="2400" kern="0" dirty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pPr algn="ctr" defTabSz="410765" hangingPunct="0"/>
            <a:r>
              <a:rPr lang="en-GB" sz="2400" kern="0" smtClean="0">
                <a:solidFill>
                  <a:srgbClr val="000000"/>
                </a:solidFill>
                <a:sym typeface="Helvetica Light"/>
              </a:rPr>
              <a:t>Presentation footer 10PT. Please add the relevant country to the footer.</a:t>
            </a:r>
            <a:endParaRPr lang="en-GB" sz="2400" kern="0" dirty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959784" y="6385026"/>
            <a:ext cx="394017" cy="307775"/>
          </a:xfrm>
        </p:spPr>
        <p:txBody>
          <a:bodyPr/>
          <a:lstStyle/>
          <a:p>
            <a:pPr hangingPunct="0"/>
            <a:fld id="{1ED2235E-0982-3B42-A838-A74550CD4449}" type="slidenum">
              <a:rPr lang="en-GB" kern="0" smtClean="0"/>
              <a:pPr hangingPunct="0"/>
              <a:t>‹Nº›</a:t>
            </a:fld>
            <a:endParaRPr lang="en-GB" kern="0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085366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261956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62002" y="1723878"/>
            <a:ext cx="7616824" cy="1368425"/>
          </a:xfrm>
        </p:spPr>
        <p:txBody>
          <a:bodyPr anchor="t">
            <a:noAutofit/>
          </a:bodyPr>
          <a:lstStyle>
            <a:lvl1pPr algn="l">
              <a:defRPr sz="4800">
                <a:solidFill>
                  <a:schemeClr val="tx1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2826" y="3429008"/>
            <a:ext cx="6109388" cy="276999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80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8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2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s-ES" smtClean="0"/>
              <a:t>Haga clic para modificar el estilo de subtítulo del patrón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5520" y="3429008"/>
            <a:ext cx="1510613" cy="276999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 sz="1800">
                <a:solidFill>
                  <a:schemeClr val="tx1"/>
                </a:solidFill>
              </a:defRPr>
            </a:lvl1pPr>
          </a:lstStyle>
          <a:p>
            <a:pPr algn="ctr" defTabSz="410765" hangingPunct="0"/>
            <a:fld id="{8B377B34-6D7B-4E8C-BE0C-57CEA27E5C89}" type="datetime1">
              <a:rPr lang="en-GB" kern="0" smtClean="0">
                <a:solidFill>
                  <a:srgbClr val="000000"/>
                </a:solidFill>
                <a:sym typeface="Helvetica Light"/>
              </a:rPr>
              <a:pPr algn="ctr" defTabSz="410765" hangingPunct="0"/>
              <a:t>15/06/2018</a:t>
            </a:fld>
            <a:endParaRPr lang="en-GB" kern="0" dirty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9" name="Rectangle 8"/>
          <p:cNvSpPr/>
          <p:nvPr userDrawn="1"/>
        </p:nvSpPr>
        <p:spPr>
          <a:xfrm rot="16200000">
            <a:off x="1615349" y="-157777"/>
            <a:ext cx="691602" cy="239829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0" marR="0" lvl="0" indent="0" algn="ctr" defTabSz="410765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Light"/>
              <a:sym typeface="Helvetica Ligh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70116" y="5536544"/>
            <a:ext cx="3075759" cy="661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27139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72212" y="6264005"/>
            <a:ext cx="1510613" cy="153888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pPr algn="ctr" defTabSz="410765" hangingPunct="0"/>
            <a:fld id="{521C9995-6F84-40C7-A1DC-4AD0AE1E539B}" type="datetime1">
              <a:rPr lang="en-GB" sz="2400" kern="0" smtClean="0">
                <a:solidFill>
                  <a:srgbClr val="000000"/>
                </a:solidFill>
                <a:sym typeface="Helvetica Light"/>
              </a:rPr>
              <a:pPr algn="ctr" defTabSz="410765" hangingPunct="0"/>
              <a:t>15/06/2018</a:t>
            </a:fld>
            <a:endParaRPr lang="en-GB" sz="2400" kern="0" dirty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82826" y="6264005"/>
            <a:ext cx="8381999" cy="153888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pPr algn="ctr" defTabSz="410765" hangingPunct="0"/>
            <a:r>
              <a:rPr lang="en-GB" sz="2400" kern="0" smtClean="0">
                <a:solidFill>
                  <a:srgbClr val="000000"/>
                </a:solidFill>
                <a:sym typeface="Helvetica Light"/>
              </a:rPr>
              <a:t>España</a:t>
            </a:r>
            <a:endParaRPr lang="en-GB" sz="2400" kern="0" dirty="0">
              <a:solidFill>
                <a:srgbClr val="000000"/>
              </a:solidFill>
              <a:sym typeface="Helvetica Light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959784" y="6394259"/>
            <a:ext cx="394017" cy="289308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pPr hangingPunct="0"/>
            <a:fld id="{1ED2235E-0982-3B42-A838-A74550CD4449}" type="slidenum">
              <a:rPr lang="en-GB" kern="0" smtClean="0"/>
              <a:pPr hangingPunct="0"/>
              <a:t>‹Nº›</a:t>
            </a:fld>
            <a:endParaRPr lang="en-GB" kern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1085366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/>
              <a:t>Click to edit Master subtitle style if required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403225" y="688976"/>
            <a:ext cx="196850" cy="6826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0" marR="0" lvl="0" indent="0" algn="ctr" defTabSz="410765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/>
              <a:sym typeface="Helvetica Light"/>
            </a:endParaRPr>
          </a:p>
        </p:txBody>
      </p:sp>
      <p:pic>
        <p:nvPicPr>
          <p:cNvPr id="11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41120" y="689732"/>
            <a:ext cx="1895417" cy="407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251556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Key Message Onl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72212" y="6264005"/>
            <a:ext cx="1510613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 defTabSz="410765" hangingPunct="0"/>
            <a:fld id="{5B435024-75F1-4D5F-9C7A-DEE128261E9F}" type="datetime1">
              <a:rPr lang="en-GB" sz="2400" kern="0" smtClean="0">
                <a:solidFill>
                  <a:srgbClr val="FFFFFF"/>
                </a:solidFill>
                <a:sym typeface="Helvetica Light"/>
              </a:rPr>
              <a:pPr algn="ctr" defTabSz="410765" hangingPunct="0"/>
              <a:t>15/06/2018</a:t>
            </a:fld>
            <a:endParaRPr lang="en-GB" sz="2400" kern="0" dirty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82826" y="6264005"/>
            <a:ext cx="8381999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ctr" defTabSz="410765" hangingPunct="0"/>
            <a:r>
              <a:rPr lang="en-GB" sz="2400" kern="0" smtClean="0">
                <a:solidFill>
                  <a:srgbClr val="FFFFFF"/>
                </a:solidFill>
                <a:sym typeface="Helvetica Light"/>
              </a:rPr>
              <a:t>España</a:t>
            </a:r>
            <a:endParaRPr lang="en-GB" sz="2400" kern="0" dirty="0">
              <a:solidFill>
                <a:srgbClr val="FFFFFF"/>
              </a:solidFill>
              <a:sym typeface="Helvetica Light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959784" y="6385026"/>
            <a:ext cx="394017" cy="3077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hangingPunct="0"/>
            <a:fld id="{1ED2235E-0982-3B42-A838-A74550CD4449}" type="slidenum">
              <a:rPr lang="en-GB" kern="0" smtClean="0">
                <a:solidFill>
                  <a:srgbClr val="FFFFFF"/>
                </a:solidFill>
              </a:rPr>
              <a:pPr hangingPunct="0"/>
              <a:t>‹Nº›</a:t>
            </a:fld>
            <a:endParaRPr lang="en-GB" kern="0" dirty="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 rot="5400000">
            <a:off x="1845391" y="-394416"/>
            <a:ext cx="878042" cy="30448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0" marR="0" lvl="0" indent="0" algn="ctr" defTabSz="410765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3200" b="0" i="0" u="none" strike="noStrike" kern="0" cap="none" spc="0" normalizeH="0" baseline="0" noProof="0" dirty="0">
              <a:ln>
                <a:noFill/>
              </a:ln>
              <a:solidFill>
                <a:srgbClr val="0365C0"/>
              </a:solidFill>
              <a:effectLst/>
              <a:uLnTx/>
              <a:uFillTx/>
              <a:latin typeface="Helvetica Light"/>
              <a:sym typeface="Helvetica Light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772211" y="1905918"/>
            <a:ext cx="7606614" cy="3577306"/>
          </a:xfrm>
        </p:spPr>
        <p:txBody>
          <a:bodyPr/>
          <a:lstStyle>
            <a:lvl1pPr>
              <a:defRPr sz="48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3582829"/>
      </p:ext>
    </p:extLst>
  </p:cSld>
  <p:clrMapOvr>
    <a:masterClrMapping/>
  </p:clrMapOvr>
  <p:transition spd="med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100" b="1" i="0">
                <a:solidFill>
                  <a:srgbClr val="53585F"/>
                </a:solidFill>
                <a:latin typeface="Lucida Sans"/>
                <a:cs typeface="Lucida San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2400" b="0" i="0">
                <a:solidFill>
                  <a:srgbClr val="53585F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5/2018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082894" y="6446580"/>
            <a:ext cx="270907" cy="184666"/>
          </a:xfr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610150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B5A2FC-F01D-4334-B405-876FBDB2F17B}" type="datetime1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C6C6C6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/06/2018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C6C6C6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6C6C6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sentation footer 10PT. Please add the relevant country to the footer.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C6C6C6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D2235E-0982-3B42-A838-A74550CD4449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C6C6C6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C6C6C6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61999" y="1085366"/>
            <a:ext cx="8375651" cy="276999"/>
          </a:xfrm>
        </p:spPr>
        <p:txBody>
          <a:bodyPr rIns="0">
            <a:noAutofit/>
          </a:bodyPr>
          <a:lstStyle>
            <a:lvl1pPr>
              <a:defRPr sz="1800"/>
            </a:lvl1pPr>
          </a:lstStyle>
          <a:p>
            <a:pPr lvl="0"/>
            <a:r>
              <a:rPr lang="en-GB" dirty="0" smtClean="0"/>
              <a:t>Click to edit Master subtitle style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85347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19E4AF-917C-46D7-A0D3-72FB2CE82749}" type="datetime1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C6C6C6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/06/2018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C6C6C6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6C6C6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sentation footer 10PT. Please add the relevant country to the footer.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C6C6C6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D2235E-0982-3B42-A838-A74550CD4449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C6C6C6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C6C6C6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91140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52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1999" y="670121"/>
            <a:ext cx="8375651" cy="39498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s-ES" noProof="0" smtClean="0"/>
              <a:t>Haga clic para modificar el estilo de título del patrón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1999" y="2055703"/>
            <a:ext cx="10664825" cy="4110147"/>
          </a:xfrm>
          <a:prstGeom prst="rect">
            <a:avLst/>
          </a:prstGeom>
        </p:spPr>
        <p:txBody>
          <a:bodyPr vert="horz" wrap="square" lIns="0" tIns="0" rIns="180000" bIns="0" rtlCol="0">
            <a:noAutofit/>
          </a:bodyPr>
          <a:lstStyle/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n-GB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72211" y="6264005"/>
            <a:ext cx="1510613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B13E7F-80BA-42CA-A79E-70006BACF71F}" type="datetime1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C6C6C6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/06/2018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C6C6C6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82825" y="6264005"/>
            <a:ext cx="8381999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C6C6C6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sentation footer 10PT. Please add the relevant country to the footer.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C6C6C6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64825" y="6264005"/>
            <a:ext cx="762000" cy="153888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r"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D2235E-0982-3B42-A838-A74550CD4449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C6C6C6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C6C6C6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03225" y="688975"/>
            <a:ext cx="196850" cy="68262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1119" y="689732"/>
            <a:ext cx="1895417" cy="407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62044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717" r:id="rId14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/>
        <a:buNone/>
        <a:tabLst>
          <a:tab pos="1057275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7275" algn="l"/>
        </a:tabLst>
        <a:defRPr sz="180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750" indent="-2698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7275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1338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>
          <a:tab pos="1057275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541338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Lucida Grande"/>
        <a:buChar char="-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480">
          <p15:clr>
            <a:srgbClr val="F26B43"/>
          </p15:clr>
        </p15:guide>
        <p15:guide id="4" pos="1920">
          <p15:clr>
            <a:srgbClr val="F26B43"/>
          </p15:clr>
        </p15:guide>
        <p15:guide id="5" pos="960">
          <p15:clr>
            <a:srgbClr val="F26B43"/>
          </p15:clr>
        </p15:guide>
        <p15:guide id="6" pos="1438">
          <p15:clr>
            <a:srgbClr val="F26B43"/>
          </p15:clr>
        </p15:guide>
        <p15:guide id="7" pos="2398">
          <p15:clr>
            <a:srgbClr val="F26B43"/>
          </p15:clr>
        </p15:guide>
        <p15:guide id="8" pos="2880">
          <p15:clr>
            <a:srgbClr val="F26B43"/>
          </p15:clr>
        </p15:guide>
        <p15:guide id="9" pos="3360">
          <p15:clr>
            <a:srgbClr val="F26B43"/>
          </p15:clr>
        </p15:guide>
        <p15:guide id="10" pos="4320">
          <p15:clr>
            <a:srgbClr val="F26B43"/>
          </p15:clr>
        </p15:guide>
        <p15:guide id="11" pos="4798">
          <p15:clr>
            <a:srgbClr val="F26B43"/>
          </p15:clr>
        </p15:guide>
        <p15:guide id="12" pos="5278">
          <p15:clr>
            <a:srgbClr val="F26B43"/>
          </p15:clr>
        </p15:guide>
        <p15:guide id="13" pos="5756">
          <p15:clr>
            <a:srgbClr val="F26B43"/>
          </p15:clr>
        </p15:guide>
        <p15:guide id="14" pos="6236">
          <p15:clr>
            <a:srgbClr val="F26B43"/>
          </p15:clr>
        </p15:guide>
        <p15:guide id="15" pos="6718">
          <p15:clr>
            <a:srgbClr val="F26B43"/>
          </p15:clr>
        </p15:guide>
        <p15:guide id="16" pos="7197">
          <p15:clr>
            <a:srgbClr val="F26B43"/>
          </p15:clr>
        </p15:guide>
        <p15:guide id="17" orient="horz" pos="1728">
          <p15:clr>
            <a:srgbClr val="F26B43"/>
          </p15:clr>
        </p15:guide>
        <p15:guide id="18" orient="horz" pos="1296">
          <p15:clr>
            <a:srgbClr val="F26B43"/>
          </p15:clr>
        </p15:guide>
        <p15:guide id="19" orient="horz" pos="864">
          <p15:clr>
            <a:srgbClr val="F26B43"/>
          </p15:clr>
        </p15:guide>
        <p15:guide id="20" orient="horz" pos="434">
          <p15:clr>
            <a:srgbClr val="F26B43"/>
          </p15:clr>
        </p15:guide>
        <p15:guide id="21" orient="horz" pos="2590">
          <p15:clr>
            <a:srgbClr val="F26B43"/>
          </p15:clr>
        </p15:guide>
        <p15:guide id="22" orient="horz" pos="3022">
          <p15:clr>
            <a:srgbClr val="F26B43"/>
          </p15:clr>
        </p15:guide>
        <p15:guide id="23" orient="horz" pos="3454">
          <p15:clr>
            <a:srgbClr val="F26B43"/>
          </p15:clr>
        </p15:guide>
        <p15:guide id="24" orient="horz" pos="388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1" cy="1325564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60959" tIns="60959" rIns="60959" bIns="60959" anchor="ctr">
            <a:normAutofit/>
          </a:bodyPr>
          <a:lstStyle/>
          <a:p>
            <a:r>
              <a:t>Texto del título</a:t>
            </a:r>
          </a:p>
        </p:txBody>
      </p:sp>
      <p:sp>
        <p:nvSpPr>
          <p:cNvPr id="3" name="Shape 3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1" cy="435133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60959" tIns="60959" rIns="60959" bIns="60959">
            <a:normAutofit/>
          </a:bodyPr>
          <a:lstStyle/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4" name="Shape 4"/>
          <p:cNvSpPr>
            <a:spLocks noGrp="1"/>
          </p:cNvSpPr>
          <p:nvPr>
            <p:ph type="sldNum" sz="quarter" idx="2"/>
          </p:nvPr>
        </p:nvSpPr>
        <p:spPr>
          <a:xfrm>
            <a:off x="10959784" y="6385026"/>
            <a:ext cx="394017" cy="307775"/>
          </a:xfrm>
          <a:prstGeom prst="rect">
            <a:avLst/>
          </a:prstGeom>
          <a:ln w="3175">
            <a:miter lim="400000"/>
          </a:ln>
        </p:spPr>
        <p:txBody>
          <a:bodyPr wrap="none" lIns="60959" tIns="60959" rIns="60959" bIns="60959" anchor="ctr">
            <a:spAutoFit/>
          </a:bodyPr>
          <a:lstStyle>
            <a:lvl1pPr algn="r" defTabSz="914400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hangingPunct="0"/>
            <a:fld id="{86CB4B4D-7CA3-9044-876B-883B54F8677D}" type="slidenum">
              <a:rPr lang="es-ES" kern="0" smtClean="0"/>
              <a:pPr hangingPunct="0"/>
              <a:t>‹Nº›</a:t>
            </a:fld>
            <a:endParaRPr lang="es-ES" kern="0"/>
          </a:p>
        </p:txBody>
      </p:sp>
    </p:spTree>
    <p:extLst>
      <p:ext uri="{BB962C8B-B14F-4D97-AF65-F5344CB8AC3E}">
        <p14:creationId xmlns:p14="http://schemas.microsoft.com/office/powerpoint/2010/main" val="3357810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</p:sldLayoutIdLst>
  <p:transition spd="med"/>
  <p:timing>
    <p:tnLst>
      <p:par>
        <p:cTn id="1" dur="indefinite" restart="never" nodeType="tmRoot"/>
      </p:par>
    </p:tnLst>
  </p:timing>
  <p:txStyles>
    <p:titleStyle>
      <a:lvl1pPr marL="0" marR="0" indent="0" algn="l" defTabSz="9144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35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1pPr>
      <a:lvl2pPr marL="0" marR="0" indent="0" algn="l" defTabSz="9144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35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2pPr>
      <a:lvl3pPr marL="0" marR="0" indent="0" algn="l" defTabSz="9144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35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3pPr>
      <a:lvl4pPr marL="0" marR="0" indent="0" algn="l" defTabSz="9144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35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4pPr>
      <a:lvl5pPr marL="0" marR="0" indent="0" algn="l" defTabSz="9144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35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5pPr>
      <a:lvl6pPr marL="0" marR="0" indent="0" algn="l" defTabSz="9144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35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6pPr>
      <a:lvl7pPr marL="0" marR="0" indent="0" algn="l" defTabSz="9144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35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7pPr>
      <a:lvl8pPr marL="0" marR="0" indent="0" algn="l" defTabSz="9144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35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8pPr>
      <a:lvl9pPr marL="0" marR="0" indent="0" algn="l" defTabSz="9144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35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9pPr>
    </p:titleStyle>
    <p:bodyStyle>
      <a:lvl1pPr marL="220436" marR="0" indent="-220436" algn="l" defTabSz="914400" latinLnBrk="0">
        <a:lnSpc>
          <a:spcPct val="90000"/>
        </a:lnSpc>
        <a:spcBef>
          <a:spcPts val="975"/>
        </a:spcBef>
        <a:spcAft>
          <a:spcPts val="0"/>
        </a:spcAft>
        <a:buClrTx/>
        <a:buSzPct val="100000"/>
        <a:buFont typeface="Arial"/>
        <a:buChar char="•"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1pPr>
      <a:lvl2pPr marL="600075" marR="0" indent="-257175" algn="l" defTabSz="914400" latinLnBrk="0">
        <a:lnSpc>
          <a:spcPct val="90000"/>
        </a:lnSpc>
        <a:spcBef>
          <a:spcPts val="975"/>
        </a:spcBef>
        <a:spcAft>
          <a:spcPts val="0"/>
        </a:spcAft>
        <a:buClrTx/>
        <a:buSzPct val="100000"/>
        <a:buFont typeface="Arial"/>
        <a:buChar char="•"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2pPr>
      <a:lvl3pPr marL="994409" marR="0" indent="-308609" algn="l" defTabSz="914400" latinLnBrk="0">
        <a:lnSpc>
          <a:spcPct val="90000"/>
        </a:lnSpc>
        <a:spcBef>
          <a:spcPts val="975"/>
        </a:spcBef>
        <a:spcAft>
          <a:spcPts val="0"/>
        </a:spcAft>
        <a:buClrTx/>
        <a:buSzPct val="100000"/>
        <a:buFont typeface="Arial"/>
        <a:buChar char="•"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3pPr>
      <a:lvl4pPr marL="1371600" marR="0" indent="-342900" algn="l" defTabSz="914400" latinLnBrk="0">
        <a:lnSpc>
          <a:spcPct val="90000"/>
        </a:lnSpc>
        <a:spcBef>
          <a:spcPts val="975"/>
        </a:spcBef>
        <a:spcAft>
          <a:spcPts val="0"/>
        </a:spcAft>
        <a:buClrTx/>
        <a:buSzPct val="100000"/>
        <a:buFont typeface="Arial"/>
        <a:buChar char="•"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4pPr>
      <a:lvl5pPr marL="1714500" marR="0" indent="-342900" algn="l" defTabSz="914400" latinLnBrk="0">
        <a:lnSpc>
          <a:spcPct val="90000"/>
        </a:lnSpc>
        <a:spcBef>
          <a:spcPts val="975"/>
        </a:spcBef>
        <a:spcAft>
          <a:spcPts val="0"/>
        </a:spcAft>
        <a:buClrTx/>
        <a:buSzPct val="100000"/>
        <a:buFont typeface="Arial"/>
        <a:buChar char="•"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5pPr>
      <a:lvl6pPr marL="2057400" marR="0" indent="-342900" algn="l" defTabSz="914400" latinLnBrk="0">
        <a:lnSpc>
          <a:spcPct val="90000"/>
        </a:lnSpc>
        <a:spcBef>
          <a:spcPts val="975"/>
        </a:spcBef>
        <a:spcAft>
          <a:spcPts val="0"/>
        </a:spcAft>
        <a:buClrTx/>
        <a:buSzPct val="100000"/>
        <a:buFont typeface="Arial"/>
        <a:buChar char="•"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6pPr>
      <a:lvl7pPr marL="2400300" marR="0" indent="-342900" algn="l" defTabSz="914400" latinLnBrk="0">
        <a:lnSpc>
          <a:spcPct val="90000"/>
        </a:lnSpc>
        <a:spcBef>
          <a:spcPts val="975"/>
        </a:spcBef>
        <a:spcAft>
          <a:spcPts val="0"/>
        </a:spcAft>
        <a:buClrTx/>
        <a:buSzPct val="100000"/>
        <a:buFont typeface="Arial"/>
        <a:buChar char="•"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7pPr>
      <a:lvl8pPr marL="2743200" marR="0" indent="-342900" algn="l" defTabSz="914400" latinLnBrk="0">
        <a:lnSpc>
          <a:spcPct val="90000"/>
        </a:lnSpc>
        <a:spcBef>
          <a:spcPts val="975"/>
        </a:spcBef>
        <a:spcAft>
          <a:spcPts val="0"/>
        </a:spcAft>
        <a:buClrTx/>
        <a:buSzPct val="100000"/>
        <a:buFont typeface="Arial"/>
        <a:buChar char="•"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8pPr>
      <a:lvl9pPr marL="3086100" marR="0" indent="-342900" algn="l" defTabSz="914400" latinLnBrk="0">
        <a:lnSpc>
          <a:spcPct val="90000"/>
        </a:lnSpc>
        <a:spcBef>
          <a:spcPts val="975"/>
        </a:spcBef>
        <a:spcAft>
          <a:spcPts val="0"/>
        </a:spcAft>
        <a:buClrTx/>
        <a:buSzPct val="100000"/>
        <a:buFont typeface="Arial"/>
        <a:buChar char="•"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9pPr>
    </p:bodyStyle>
    <p:otherStyle>
      <a:lvl1pPr marL="0" marR="0" indent="0" algn="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342900" algn="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685800" algn="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1028700" algn="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1371600" algn="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1714500" algn="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2057400" algn="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2400300" algn="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2743200" algn="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1" cy="1325564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60959" tIns="60959" rIns="60959" bIns="60959" anchor="ctr">
            <a:normAutofit/>
          </a:bodyPr>
          <a:lstStyle/>
          <a:p>
            <a:r>
              <a:t>Texto del título</a:t>
            </a:r>
          </a:p>
        </p:txBody>
      </p:sp>
      <p:sp>
        <p:nvSpPr>
          <p:cNvPr id="3" name="Shape 3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1" cy="435133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60959" tIns="60959" rIns="60959" bIns="60959">
            <a:normAutofit/>
          </a:bodyPr>
          <a:lstStyle/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4" name="Shape 4"/>
          <p:cNvSpPr>
            <a:spLocks noGrp="1"/>
          </p:cNvSpPr>
          <p:nvPr>
            <p:ph type="sldNum" sz="quarter" idx="2"/>
          </p:nvPr>
        </p:nvSpPr>
        <p:spPr>
          <a:xfrm>
            <a:off x="10959784" y="6385026"/>
            <a:ext cx="394017" cy="307775"/>
          </a:xfrm>
          <a:prstGeom prst="rect">
            <a:avLst/>
          </a:prstGeom>
          <a:ln w="3175">
            <a:miter lim="400000"/>
          </a:ln>
        </p:spPr>
        <p:txBody>
          <a:bodyPr wrap="none" lIns="60959" tIns="60959" rIns="60959" bIns="60959" anchor="ctr">
            <a:spAutoFit/>
          </a:bodyPr>
          <a:lstStyle>
            <a:lvl1pPr algn="r" defTabSz="914400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hangingPunct="0"/>
            <a:fld id="{86CB4B4D-7CA3-9044-876B-883B54F8677D}" type="slidenum">
              <a:rPr lang="es-ES" kern="0" smtClean="0"/>
              <a:pPr hangingPunct="0"/>
              <a:t>‹Nº›</a:t>
            </a:fld>
            <a:endParaRPr lang="es-ES" kern="0"/>
          </a:p>
        </p:txBody>
      </p:sp>
    </p:spTree>
    <p:extLst>
      <p:ext uri="{BB962C8B-B14F-4D97-AF65-F5344CB8AC3E}">
        <p14:creationId xmlns:p14="http://schemas.microsoft.com/office/powerpoint/2010/main" val="2068621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</p:sldLayoutIdLst>
  <p:transition spd="med"/>
  <p:timing>
    <p:tnLst>
      <p:par>
        <p:cTn id="1" dur="indefinite" restart="never" nodeType="tmRoot"/>
      </p:par>
    </p:tnLst>
  </p:timing>
  <p:txStyles>
    <p:titleStyle>
      <a:lvl1pPr marL="0" marR="0" indent="0" algn="l" defTabSz="9144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35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1pPr>
      <a:lvl2pPr marL="0" marR="0" indent="0" algn="l" defTabSz="9144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35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2pPr>
      <a:lvl3pPr marL="0" marR="0" indent="0" algn="l" defTabSz="9144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35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3pPr>
      <a:lvl4pPr marL="0" marR="0" indent="0" algn="l" defTabSz="9144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35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4pPr>
      <a:lvl5pPr marL="0" marR="0" indent="0" algn="l" defTabSz="9144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35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5pPr>
      <a:lvl6pPr marL="0" marR="0" indent="0" algn="l" defTabSz="9144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35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6pPr>
      <a:lvl7pPr marL="0" marR="0" indent="0" algn="l" defTabSz="9144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35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7pPr>
      <a:lvl8pPr marL="0" marR="0" indent="0" algn="l" defTabSz="9144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35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8pPr>
      <a:lvl9pPr marL="0" marR="0" indent="0" algn="l" defTabSz="9144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35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9pPr>
    </p:titleStyle>
    <p:bodyStyle>
      <a:lvl1pPr marL="220436" marR="0" indent="-220436" algn="l" defTabSz="914400" latinLnBrk="0">
        <a:lnSpc>
          <a:spcPct val="90000"/>
        </a:lnSpc>
        <a:spcBef>
          <a:spcPts val="975"/>
        </a:spcBef>
        <a:spcAft>
          <a:spcPts val="0"/>
        </a:spcAft>
        <a:buClrTx/>
        <a:buSzPct val="100000"/>
        <a:buFont typeface="Arial"/>
        <a:buChar char="•"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1pPr>
      <a:lvl2pPr marL="600075" marR="0" indent="-257175" algn="l" defTabSz="914400" latinLnBrk="0">
        <a:lnSpc>
          <a:spcPct val="90000"/>
        </a:lnSpc>
        <a:spcBef>
          <a:spcPts val="975"/>
        </a:spcBef>
        <a:spcAft>
          <a:spcPts val="0"/>
        </a:spcAft>
        <a:buClrTx/>
        <a:buSzPct val="100000"/>
        <a:buFont typeface="Arial"/>
        <a:buChar char="•"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2pPr>
      <a:lvl3pPr marL="994409" marR="0" indent="-308609" algn="l" defTabSz="914400" latinLnBrk="0">
        <a:lnSpc>
          <a:spcPct val="90000"/>
        </a:lnSpc>
        <a:spcBef>
          <a:spcPts val="975"/>
        </a:spcBef>
        <a:spcAft>
          <a:spcPts val="0"/>
        </a:spcAft>
        <a:buClrTx/>
        <a:buSzPct val="100000"/>
        <a:buFont typeface="Arial"/>
        <a:buChar char="•"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3pPr>
      <a:lvl4pPr marL="1371600" marR="0" indent="-342900" algn="l" defTabSz="914400" latinLnBrk="0">
        <a:lnSpc>
          <a:spcPct val="90000"/>
        </a:lnSpc>
        <a:spcBef>
          <a:spcPts val="975"/>
        </a:spcBef>
        <a:spcAft>
          <a:spcPts val="0"/>
        </a:spcAft>
        <a:buClrTx/>
        <a:buSzPct val="100000"/>
        <a:buFont typeface="Arial"/>
        <a:buChar char="•"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4pPr>
      <a:lvl5pPr marL="1714500" marR="0" indent="-342900" algn="l" defTabSz="914400" latinLnBrk="0">
        <a:lnSpc>
          <a:spcPct val="90000"/>
        </a:lnSpc>
        <a:spcBef>
          <a:spcPts val="975"/>
        </a:spcBef>
        <a:spcAft>
          <a:spcPts val="0"/>
        </a:spcAft>
        <a:buClrTx/>
        <a:buSzPct val="100000"/>
        <a:buFont typeface="Arial"/>
        <a:buChar char="•"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5pPr>
      <a:lvl6pPr marL="2057400" marR="0" indent="-342900" algn="l" defTabSz="914400" latinLnBrk="0">
        <a:lnSpc>
          <a:spcPct val="90000"/>
        </a:lnSpc>
        <a:spcBef>
          <a:spcPts val="975"/>
        </a:spcBef>
        <a:spcAft>
          <a:spcPts val="0"/>
        </a:spcAft>
        <a:buClrTx/>
        <a:buSzPct val="100000"/>
        <a:buFont typeface="Arial"/>
        <a:buChar char="•"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6pPr>
      <a:lvl7pPr marL="2400300" marR="0" indent="-342900" algn="l" defTabSz="914400" latinLnBrk="0">
        <a:lnSpc>
          <a:spcPct val="90000"/>
        </a:lnSpc>
        <a:spcBef>
          <a:spcPts val="975"/>
        </a:spcBef>
        <a:spcAft>
          <a:spcPts val="0"/>
        </a:spcAft>
        <a:buClrTx/>
        <a:buSzPct val="100000"/>
        <a:buFont typeface="Arial"/>
        <a:buChar char="•"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7pPr>
      <a:lvl8pPr marL="2743200" marR="0" indent="-342900" algn="l" defTabSz="914400" latinLnBrk="0">
        <a:lnSpc>
          <a:spcPct val="90000"/>
        </a:lnSpc>
        <a:spcBef>
          <a:spcPts val="975"/>
        </a:spcBef>
        <a:spcAft>
          <a:spcPts val="0"/>
        </a:spcAft>
        <a:buClrTx/>
        <a:buSzPct val="100000"/>
        <a:buFont typeface="Arial"/>
        <a:buChar char="•"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8pPr>
      <a:lvl9pPr marL="3086100" marR="0" indent="-342900" algn="l" defTabSz="914400" latinLnBrk="0">
        <a:lnSpc>
          <a:spcPct val="90000"/>
        </a:lnSpc>
        <a:spcBef>
          <a:spcPts val="975"/>
        </a:spcBef>
        <a:spcAft>
          <a:spcPts val="0"/>
        </a:spcAft>
        <a:buClrTx/>
        <a:buSzPct val="100000"/>
        <a:buFont typeface="Arial"/>
        <a:buChar char="•"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9pPr>
    </p:bodyStyle>
    <p:otherStyle>
      <a:lvl1pPr marL="0" marR="0" indent="0" algn="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342900" algn="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685800" algn="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1028700" algn="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1371600" algn="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1714500" algn="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2057400" algn="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2400300" algn="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2743200" algn="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/>
          </p:cNvSpPr>
          <p:nvPr>
            <p:ph type="title"/>
          </p:nvPr>
        </p:nvSpPr>
        <p:spPr>
          <a:xfrm>
            <a:off x="838199" y="365124"/>
            <a:ext cx="10515602" cy="132556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60958" tIns="60958" rIns="60958" bIns="60958" anchor="ctr">
            <a:normAutofit/>
          </a:bodyPr>
          <a:lstStyle/>
          <a:p>
            <a:r>
              <a:t>Texto del título</a:t>
            </a:r>
          </a:p>
        </p:txBody>
      </p:sp>
      <p:sp>
        <p:nvSpPr>
          <p:cNvPr id="3" name="Shape 3"/>
          <p:cNvSpPr>
            <a:spLocks noGrp="1"/>
          </p:cNvSpPr>
          <p:nvPr>
            <p:ph type="body" idx="1"/>
          </p:nvPr>
        </p:nvSpPr>
        <p:spPr>
          <a:xfrm>
            <a:off x="838199" y="1825623"/>
            <a:ext cx="10515602" cy="435134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60958" tIns="60958" rIns="60958" bIns="60958">
            <a:normAutofit/>
          </a:bodyPr>
          <a:lstStyle/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4" name="Shape 4"/>
          <p:cNvSpPr>
            <a:spLocks noGrp="1"/>
          </p:cNvSpPr>
          <p:nvPr>
            <p:ph type="sldNum" sz="quarter" idx="2"/>
          </p:nvPr>
        </p:nvSpPr>
        <p:spPr>
          <a:xfrm>
            <a:off x="10959786" y="6385027"/>
            <a:ext cx="394015" cy="307773"/>
          </a:xfrm>
          <a:prstGeom prst="rect">
            <a:avLst/>
          </a:prstGeom>
          <a:ln w="12700">
            <a:miter lim="400000"/>
          </a:ln>
        </p:spPr>
        <p:txBody>
          <a:bodyPr wrap="none" lIns="60958" tIns="60958" rIns="60958" bIns="60958" anchor="ctr">
            <a:spAutoFit/>
          </a:bodyPr>
          <a:lstStyle>
            <a:lvl1pPr algn="r" defTabSz="914400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hangingPunct="0">
              <a:defRPr/>
            </a:pPr>
            <a:fld id="{86CB4B4D-7CA3-9044-876B-883B54F8677D}" type="slidenum">
              <a:rPr lang="es-ES" kern="0" smtClean="0"/>
              <a:pPr hangingPunct="0">
                <a:defRPr/>
              </a:pPr>
              <a:t>‹Nº›</a:t>
            </a:fld>
            <a:endParaRPr lang="es-ES" kern="0"/>
          </a:p>
        </p:txBody>
      </p:sp>
    </p:spTree>
    <p:extLst>
      <p:ext uri="{BB962C8B-B14F-4D97-AF65-F5344CB8AC3E}">
        <p14:creationId xmlns:p14="http://schemas.microsoft.com/office/powerpoint/2010/main" val="4149226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  <p:sldLayoutId id="2147483731" r:id="rId13"/>
    <p:sldLayoutId id="2147483732" r:id="rId14"/>
    <p:sldLayoutId id="2147483733" r:id="rId15"/>
    <p:sldLayoutId id="2147483734" r:id="rId16"/>
    <p:sldLayoutId id="2147483735" r:id="rId17"/>
    <p:sldLayoutId id="2147483736" r:id="rId18"/>
  </p:sldLayoutIdLst>
  <p:transition spd="med"/>
  <p:txStyles>
    <p:titleStyle>
      <a:lvl1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35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1pPr>
      <a:lvl2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35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2pPr>
      <a:lvl3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35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3pPr>
      <a:lvl4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35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4pPr>
      <a:lvl5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35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5pPr>
      <a:lvl6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35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6pPr>
      <a:lvl7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35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7pPr>
      <a:lvl8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35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8pPr>
      <a:lvl9pPr marL="0" marR="0" indent="0" algn="l" defTabSz="914400" rtl="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35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9pPr>
    </p:titleStyle>
    <p:bodyStyle>
      <a:lvl1pPr marL="220435" marR="0" indent="-220435" algn="l" defTabSz="914400" rtl="0" latinLnBrk="0">
        <a:lnSpc>
          <a:spcPct val="90000"/>
        </a:lnSpc>
        <a:spcBef>
          <a:spcPts val="975"/>
        </a:spcBef>
        <a:spcAft>
          <a:spcPts val="0"/>
        </a:spcAft>
        <a:buClrTx/>
        <a:buSzPct val="100000"/>
        <a:buFont typeface="Arial"/>
        <a:buChar char="•"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1pPr>
      <a:lvl2pPr marL="600075" marR="0" indent="-257175" algn="l" defTabSz="914400" rtl="0" latinLnBrk="0">
        <a:lnSpc>
          <a:spcPct val="90000"/>
        </a:lnSpc>
        <a:spcBef>
          <a:spcPts val="975"/>
        </a:spcBef>
        <a:spcAft>
          <a:spcPts val="0"/>
        </a:spcAft>
        <a:buClrTx/>
        <a:buSzPct val="100000"/>
        <a:buFont typeface="Arial"/>
        <a:buChar char="•"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2pPr>
      <a:lvl3pPr marL="994409" marR="0" indent="-308609" algn="l" defTabSz="914400" rtl="0" latinLnBrk="0">
        <a:lnSpc>
          <a:spcPct val="90000"/>
        </a:lnSpc>
        <a:spcBef>
          <a:spcPts val="975"/>
        </a:spcBef>
        <a:spcAft>
          <a:spcPts val="0"/>
        </a:spcAft>
        <a:buClrTx/>
        <a:buSzPct val="100000"/>
        <a:buFont typeface="Arial"/>
        <a:buChar char="•"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3pPr>
      <a:lvl4pPr marL="1371600" marR="0" indent="-342900" algn="l" defTabSz="914400" rtl="0" latinLnBrk="0">
        <a:lnSpc>
          <a:spcPct val="90000"/>
        </a:lnSpc>
        <a:spcBef>
          <a:spcPts val="975"/>
        </a:spcBef>
        <a:spcAft>
          <a:spcPts val="0"/>
        </a:spcAft>
        <a:buClrTx/>
        <a:buSzPct val="100000"/>
        <a:buFont typeface="Arial"/>
        <a:buChar char="•"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4pPr>
      <a:lvl5pPr marL="1714500" marR="0" indent="-342900" algn="l" defTabSz="914400" rtl="0" latinLnBrk="0">
        <a:lnSpc>
          <a:spcPct val="90000"/>
        </a:lnSpc>
        <a:spcBef>
          <a:spcPts val="975"/>
        </a:spcBef>
        <a:spcAft>
          <a:spcPts val="0"/>
        </a:spcAft>
        <a:buClrTx/>
        <a:buSzPct val="100000"/>
        <a:buFont typeface="Arial"/>
        <a:buChar char="•"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5pPr>
      <a:lvl6pPr marL="2057400" marR="0" indent="-342900" algn="l" defTabSz="914400" rtl="0" latinLnBrk="0">
        <a:lnSpc>
          <a:spcPct val="90000"/>
        </a:lnSpc>
        <a:spcBef>
          <a:spcPts val="975"/>
        </a:spcBef>
        <a:spcAft>
          <a:spcPts val="0"/>
        </a:spcAft>
        <a:buClrTx/>
        <a:buSzPct val="100000"/>
        <a:buFont typeface="Arial"/>
        <a:buChar char="•"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6pPr>
      <a:lvl7pPr marL="2400300" marR="0" indent="-342900" algn="l" defTabSz="914400" rtl="0" latinLnBrk="0">
        <a:lnSpc>
          <a:spcPct val="90000"/>
        </a:lnSpc>
        <a:spcBef>
          <a:spcPts val="975"/>
        </a:spcBef>
        <a:spcAft>
          <a:spcPts val="0"/>
        </a:spcAft>
        <a:buClrTx/>
        <a:buSzPct val="100000"/>
        <a:buFont typeface="Arial"/>
        <a:buChar char="•"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7pPr>
      <a:lvl8pPr marL="2743200" marR="0" indent="-342900" algn="l" defTabSz="914400" rtl="0" latinLnBrk="0">
        <a:lnSpc>
          <a:spcPct val="90000"/>
        </a:lnSpc>
        <a:spcBef>
          <a:spcPts val="975"/>
        </a:spcBef>
        <a:spcAft>
          <a:spcPts val="0"/>
        </a:spcAft>
        <a:buClrTx/>
        <a:buSzPct val="100000"/>
        <a:buFont typeface="Arial"/>
        <a:buChar char="•"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8pPr>
      <a:lvl9pPr marL="3086100" marR="0" indent="-342900" algn="l" defTabSz="914400" rtl="0" latinLnBrk="0">
        <a:lnSpc>
          <a:spcPct val="90000"/>
        </a:lnSpc>
        <a:spcBef>
          <a:spcPts val="975"/>
        </a:spcBef>
        <a:spcAft>
          <a:spcPts val="0"/>
        </a:spcAft>
        <a:buClrTx/>
        <a:buSzPct val="100000"/>
        <a:buFont typeface="Arial"/>
        <a:buChar char="•"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9pPr>
    </p:bodyStyle>
    <p:otherStyle>
      <a:lvl1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1" cy="1325564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60959" tIns="60959" rIns="60959" bIns="60959" anchor="ctr">
            <a:normAutofit/>
          </a:bodyPr>
          <a:lstStyle/>
          <a:p>
            <a:r>
              <a:t>Texto del título</a:t>
            </a:r>
          </a:p>
        </p:txBody>
      </p:sp>
      <p:sp>
        <p:nvSpPr>
          <p:cNvPr id="3" name="Shape 3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1" cy="4351339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60959" tIns="60959" rIns="60959" bIns="60959">
            <a:normAutofit/>
          </a:bodyPr>
          <a:lstStyle/>
          <a:p>
            <a:r>
              <a:t>Nivel de texto 1</a:t>
            </a:r>
          </a:p>
          <a:p>
            <a:pPr lvl="1"/>
            <a:r>
              <a:t>Nivel de texto 2</a:t>
            </a:r>
          </a:p>
          <a:p>
            <a:pPr lvl="2"/>
            <a:r>
              <a:t>Nivel de texto 3</a:t>
            </a:r>
          </a:p>
          <a:p>
            <a:pPr lvl="3"/>
            <a:r>
              <a:t>Nivel de texto 4</a:t>
            </a:r>
          </a:p>
          <a:p>
            <a:pPr lvl="4"/>
            <a:r>
              <a:t>Nivel de texto 5</a:t>
            </a:r>
          </a:p>
        </p:txBody>
      </p:sp>
      <p:sp>
        <p:nvSpPr>
          <p:cNvPr id="4" name="Shape 4"/>
          <p:cNvSpPr>
            <a:spLocks noGrp="1"/>
          </p:cNvSpPr>
          <p:nvPr>
            <p:ph type="sldNum" sz="quarter" idx="2"/>
          </p:nvPr>
        </p:nvSpPr>
        <p:spPr>
          <a:xfrm>
            <a:off x="10959784" y="6385026"/>
            <a:ext cx="394017" cy="307775"/>
          </a:xfrm>
          <a:prstGeom prst="rect">
            <a:avLst/>
          </a:prstGeom>
          <a:ln w="3175">
            <a:miter lim="400000"/>
          </a:ln>
        </p:spPr>
        <p:txBody>
          <a:bodyPr wrap="none" lIns="60959" tIns="60959" rIns="60959" bIns="60959" anchor="ctr">
            <a:spAutoFit/>
          </a:bodyPr>
          <a:lstStyle>
            <a:lvl1pPr algn="r" defTabSz="914400">
              <a:defRPr sz="1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pPr hangingPunct="0"/>
            <a:fld id="{86CB4B4D-7CA3-9044-876B-883B54F8677D}" type="slidenum">
              <a:rPr lang="es-ES" kern="0" smtClean="0"/>
              <a:pPr hangingPunct="0"/>
              <a:t>‹Nº›</a:t>
            </a:fld>
            <a:endParaRPr lang="es-ES" kern="0"/>
          </a:p>
        </p:txBody>
      </p:sp>
    </p:spTree>
    <p:extLst>
      <p:ext uri="{BB962C8B-B14F-4D97-AF65-F5344CB8AC3E}">
        <p14:creationId xmlns:p14="http://schemas.microsoft.com/office/powerpoint/2010/main" val="955758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</p:sldLayoutIdLst>
  <p:transition spd="med"/>
  <p:timing>
    <p:tnLst>
      <p:par>
        <p:cTn id="1" dur="indefinite" restart="never" nodeType="tmRoot"/>
      </p:par>
    </p:tnLst>
  </p:timing>
  <p:txStyles>
    <p:titleStyle>
      <a:lvl1pPr marL="0" marR="0" indent="0" algn="l" defTabSz="9144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35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1pPr>
      <a:lvl2pPr marL="0" marR="0" indent="0" algn="l" defTabSz="9144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35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2pPr>
      <a:lvl3pPr marL="0" marR="0" indent="0" algn="l" defTabSz="9144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35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3pPr>
      <a:lvl4pPr marL="0" marR="0" indent="0" algn="l" defTabSz="9144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35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4pPr>
      <a:lvl5pPr marL="0" marR="0" indent="0" algn="l" defTabSz="9144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35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5pPr>
      <a:lvl6pPr marL="0" marR="0" indent="0" algn="l" defTabSz="9144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35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6pPr>
      <a:lvl7pPr marL="0" marR="0" indent="0" algn="l" defTabSz="9144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35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7pPr>
      <a:lvl8pPr marL="0" marR="0" indent="0" algn="l" defTabSz="9144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35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8pPr>
      <a:lvl9pPr marL="0" marR="0" indent="0" algn="l" defTabSz="914400" latinLnBrk="0">
        <a:lnSpc>
          <a:spcPct val="9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35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 Light"/>
          <a:ea typeface="Calibri Light"/>
          <a:cs typeface="Calibri Light"/>
          <a:sym typeface="Calibri Light"/>
        </a:defRPr>
      </a:lvl9pPr>
    </p:titleStyle>
    <p:bodyStyle>
      <a:lvl1pPr marL="220436" marR="0" indent="-220436" algn="l" defTabSz="914400" latinLnBrk="0">
        <a:lnSpc>
          <a:spcPct val="90000"/>
        </a:lnSpc>
        <a:spcBef>
          <a:spcPts val="975"/>
        </a:spcBef>
        <a:spcAft>
          <a:spcPts val="0"/>
        </a:spcAft>
        <a:buClrTx/>
        <a:buSzPct val="100000"/>
        <a:buFont typeface="Arial"/>
        <a:buChar char="•"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1pPr>
      <a:lvl2pPr marL="600075" marR="0" indent="-257175" algn="l" defTabSz="914400" latinLnBrk="0">
        <a:lnSpc>
          <a:spcPct val="90000"/>
        </a:lnSpc>
        <a:spcBef>
          <a:spcPts val="975"/>
        </a:spcBef>
        <a:spcAft>
          <a:spcPts val="0"/>
        </a:spcAft>
        <a:buClrTx/>
        <a:buSzPct val="100000"/>
        <a:buFont typeface="Arial"/>
        <a:buChar char="•"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2pPr>
      <a:lvl3pPr marL="994409" marR="0" indent="-308609" algn="l" defTabSz="914400" latinLnBrk="0">
        <a:lnSpc>
          <a:spcPct val="90000"/>
        </a:lnSpc>
        <a:spcBef>
          <a:spcPts val="975"/>
        </a:spcBef>
        <a:spcAft>
          <a:spcPts val="0"/>
        </a:spcAft>
        <a:buClrTx/>
        <a:buSzPct val="100000"/>
        <a:buFont typeface="Arial"/>
        <a:buChar char="•"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3pPr>
      <a:lvl4pPr marL="1371600" marR="0" indent="-342900" algn="l" defTabSz="914400" latinLnBrk="0">
        <a:lnSpc>
          <a:spcPct val="90000"/>
        </a:lnSpc>
        <a:spcBef>
          <a:spcPts val="975"/>
        </a:spcBef>
        <a:spcAft>
          <a:spcPts val="0"/>
        </a:spcAft>
        <a:buClrTx/>
        <a:buSzPct val="100000"/>
        <a:buFont typeface="Arial"/>
        <a:buChar char="•"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4pPr>
      <a:lvl5pPr marL="1714500" marR="0" indent="-342900" algn="l" defTabSz="914400" latinLnBrk="0">
        <a:lnSpc>
          <a:spcPct val="90000"/>
        </a:lnSpc>
        <a:spcBef>
          <a:spcPts val="975"/>
        </a:spcBef>
        <a:spcAft>
          <a:spcPts val="0"/>
        </a:spcAft>
        <a:buClrTx/>
        <a:buSzPct val="100000"/>
        <a:buFont typeface="Arial"/>
        <a:buChar char="•"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5pPr>
      <a:lvl6pPr marL="2057400" marR="0" indent="-342900" algn="l" defTabSz="914400" latinLnBrk="0">
        <a:lnSpc>
          <a:spcPct val="90000"/>
        </a:lnSpc>
        <a:spcBef>
          <a:spcPts val="975"/>
        </a:spcBef>
        <a:spcAft>
          <a:spcPts val="0"/>
        </a:spcAft>
        <a:buClrTx/>
        <a:buSzPct val="100000"/>
        <a:buFont typeface="Arial"/>
        <a:buChar char="•"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6pPr>
      <a:lvl7pPr marL="2400300" marR="0" indent="-342900" algn="l" defTabSz="914400" latinLnBrk="0">
        <a:lnSpc>
          <a:spcPct val="90000"/>
        </a:lnSpc>
        <a:spcBef>
          <a:spcPts val="975"/>
        </a:spcBef>
        <a:spcAft>
          <a:spcPts val="0"/>
        </a:spcAft>
        <a:buClrTx/>
        <a:buSzPct val="100000"/>
        <a:buFont typeface="Arial"/>
        <a:buChar char="•"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7pPr>
      <a:lvl8pPr marL="2743200" marR="0" indent="-342900" algn="l" defTabSz="914400" latinLnBrk="0">
        <a:lnSpc>
          <a:spcPct val="90000"/>
        </a:lnSpc>
        <a:spcBef>
          <a:spcPts val="975"/>
        </a:spcBef>
        <a:spcAft>
          <a:spcPts val="0"/>
        </a:spcAft>
        <a:buClrTx/>
        <a:buSzPct val="100000"/>
        <a:buFont typeface="Arial"/>
        <a:buChar char="•"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8pPr>
      <a:lvl9pPr marL="3086100" marR="0" indent="-342900" algn="l" defTabSz="914400" latinLnBrk="0">
        <a:lnSpc>
          <a:spcPct val="90000"/>
        </a:lnSpc>
        <a:spcBef>
          <a:spcPts val="975"/>
        </a:spcBef>
        <a:spcAft>
          <a:spcPts val="0"/>
        </a:spcAft>
        <a:buClrTx/>
        <a:buSzPct val="100000"/>
        <a:buFont typeface="Arial"/>
        <a:buChar char="•"/>
        <a:tabLst/>
        <a:defRPr sz="2700" b="0" i="0" u="none" strike="noStrike" cap="none" spc="0" baseline="0">
          <a:ln>
            <a:noFill/>
          </a:ln>
          <a:solidFill>
            <a:srgbClr val="000000"/>
          </a:solidFill>
          <a:uFillTx/>
          <a:latin typeface="Calibri"/>
          <a:ea typeface="Calibri"/>
          <a:cs typeface="Calibri"/>
          <a:sym typeface="Calibri"/>
        </a:defRPr>
      </a:lvl9pPr>
    </p:bodyStyle>
    <p:otherStyle>
      <a:lvl1pPr marL="0" marR="0" indent="0" algn="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1pPr>
      <a:lvl2pPr marL="0" marR="0" indent="342900" algn="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2pPr>
      <a:lvl3pPr marL="0" marR="0" indent="685800" algn="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3pPr>
      <a:lvl4pPr marL="0" marR="0" indent="1028700" algn="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4pPr>
      <a:lvl5pPr marL="0" marR="0" indent="1371600" algn="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5pPr>
      <a:lvl6pPr marL="0" marR="0" indent="1714500" algn="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6pPr>
      <a:lvl7pPr marL="0" marR="0" indent="2057400" algn="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7pPr>
      <a:lvl8pPr marL="0" marR="0" indent="2400300" algn="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8pPr>
      <a:lvl9pPr marL="0" marR="0" indent="2743200" algn="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Calibri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13" Type="http://schemas.openxmlformats.org/officeDocument/2006/relationships/image" Target="../media/image66.png"/><Relationship Id="rId3" Type="http://schemas.openxmlformats.org/officeDocument/2006/relationships/image" Target="../media/image21.jpg"/><Relationship Id="rId7" Type="http://schemas.openxmlformats.org/officeDocument/2006/relationships/diagramLayout" Target="../diagrams/layout1.xml"/><Relationship Id="rId12" Type="http://schemas.openxmlformats.org/officeDocument/2006/relationships/image" Target="../media/image6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Relationship Id="rId6" Type="http://schemas.openxmlformats.org/officeDocument/2006/relationships/diagramData" Target="../diagrams/data1.xml"/><Relationship Id="rId11" Type="http://schemas.openxmlformats.org/officeDocument/2006/relationships/image" Target="../media/image64.png"/><Relationship Id="rId5" Type="http://schemas.openxmlformats.org/officeDocument/2006/relationships/image" Target="../media/image63.png"/><Relationship Id="rId10" Type="http://schemas.microsoft.com/office/2007/relationships/diagramDrawing" Target="../diagrams/drawing1.xml"/><Relationship Id="rId4" Type="http://schemas.openxmlformats.org/officeDocument/2006/relationships/image" Target="../media/image22.png"/><Relationship Id="rId9" Type="http://schemas.openxmlformats.org/officeDocument/2006/relationships/diagramColors" Target="../diagrams/colors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Relationship Id="rId5" Type="http://schemas.openxmlformats.org/officeDocument/2006/relationships/chart" Target="../charts/chart1.xml"/><Relationship Id="rId4" Type="http://schemas.openxmlformats.org/officeDocument/2006/relationships/image" Target="../media/image20.ti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6" Type="http://schemas.microsoft.com/office/2007/relationships/hdphoto" Target="../media/hdphoto1.wdp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74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Relationship Id="rId9" Type="http://schemas.openxmlformats.org/officeDocument/2006/relationships/image" Target="../media/image3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2.jpe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1.xml"/><Relationship Id="rId6" Type="http://schemas.openxmlformats.org/officeDocument/2006/relationships/image" Target="../media/image35.png"/><Relationship Id="rId5" Type="http://schemas.openxmlformats.org/officeDocument/2006/relationships/image" Target="../media/image34.jpeg"/><Relationship Id="rId4" Type="http://schemas.openxmlformats.org/officeDocument/2006/relationships/image" Target="../media/image3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3" Type="http://schemas.openxmlformats.org/officeDocument/2006/relationships/image" Target="../media/image38.jpeg"/><Relationship Id="rId7" Type="http://schemas.openxmlformats.org/officeDocument/2006/relationships/image" Target="../media/image4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1.jpeg"/><Relationship Id="rId11" Type="http://schemas.openxmlformats.org/officeDocument/2006/relationships/image" Target="../media/image45.png"/><Relationship Id="rId5" Type="http://schemas.openxmlformats.org/officeDocument/2006/relationships/image" Target="../media/image40.jpeg"/><Relationship Id="rId10" Type="http://schemas.openxmlformats.org/officeDocument/2006/relationships/image" Target="../media/image22.png"/><Relationship Id="rId4" Type="http://schemas.openxmlformats.org/officeDocument/2006/relationships/image" Target="../media/image39.jpeg"/><Relationship Id="rId9" Type="http://schemas.openxmlformats.org/officeDocument/2006/relationships/image" Target="../media/image4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4" Type="http://schemas.openxmlformats.org/officeDocument/2006/relationships/chart" Target="../charts/char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46.jpeg"/><Relationship Id="rId7" Type="http://schemas.openxmlformats.org/officeDocument/2006/relationships/image" Target="../media/image5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9.png"/><Relationship Id="rId5" Type="http://schemas.openxmlformats.org/officeDocument/2006/relationships/image" Target="../media/image48.jpeg"/><Relationship Id="rId10" Type="http://schemas.openxmlformats.org/officeDocument/2006/relationships/image" Target="../media/image53.png"/><Relationship Id="rId4" Type="http://schemas.openxmlformats.org/officeDocument/2006/relationships/image" Target="../media/image47.png"/><Relationship Id="rId9" Type="http://schemas.openxmlformats.org/officeDocument/2006/relationships/image" Target="../media/image52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13" Type="http://schemas.openxmlformats.org/officeDocument/2006/relationships/image" Target="../media/image62.png"/><Relationship Id="rId3" Type="http://schemas.openxmlformats.org/officeDocument/2006/relationships/image" Target="../media/image47.png"/><Relationship Id="rId7" Type="http://schemas.openxmlformats.org/officeDocument/2006/relationships/image" Target="../media/image56.png"/><Relationship Id="rId12" Type="http://schemas.openxmlformats.org/officeDocument/2006/relationships/image" Target="../media/image61.pn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55.png"/><Relationship Id="rId11" Type="http://schemas.openxmlformats.org/officeDocument/2006/relationships/image" Target="../media/image60.png"/><Relationship Id="rId5" Type="http://schemas.openxmlformats.org/officeDocument/2006/relationships/image" Target="../media/image54.png"/><Relationship Id="rId10" Type="http://schemas.openxmlformats.org/officeDocument/2006/relationships/image" Target="../media/image59.png"/><Relationship Id="rId4" Type="http://schemas.openxmlformats.org/officeDocument/2006/relationships/image" Target="../media/image53.png"/><Relationship Id="rId9" Type="http://schemas.openxmlformats.org/officeDocument/2006/relationships/image" Target="../media/image5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 rotWithShape="1">
          <a:blip r:embed="rId2"/>
          <a:srcRect t="377" r="243" b="1038"/>
          <a:stretch/>
        </p:blipFill>
        <p:spPr>
          <a:xfrm>
            <a:off x="-2" y="0"/>
            <a:ext cx="12192002" cy="6309783"/>
          </a:xfrm>
          <a:prstGeom prst="rect">
            <a:avLst/>
          </a:prstGeom>
        </p:spPr>
      </p:pic>
      <p:sp>
        <p:nvSpPr>
          <p:cNvPr id="651" name="Rectángulo"/>
          <p:cNvSpPr/>
          <p:nvPr/>
        </p:nvSpPr>
        <p:spPr>
          <a:xfrm>
            <a:off x="-2" y="6309784"/>
            <a:ext cx="12192003" cy="548217"/>
          </a:xfrm>
          <a:prstGeom prst="rect">
            <a:avLst/>
          </a:prstGeom>
          <a:solidFill>
            <a:srgbClr val="FF186F"/>
          </a:solidFill>
          <a:ln w="12700">
            <a:miter lim="400000"/>
          </a:ln>
        </p:spPr>
        <p:txBody>
          <a:bodyPr lIns="60959" rIns="60959" anchor="ctr"/>
          <a:lstStyle/>
          <a:p>
            <a:pPr algn="ctr" defTabSz="914377">
              <a:defRPr sz="1300">
                <a:solidFill>
                  <a:srgbClr val="FFFFFF"/>
                </a:solidFill>
              </a:defRPr>
            </a:pPr>
            <a:endParaRPr sz="1733"/>
          </a:p>
        </p:txBody>
      </p:sp>
      <p:grpSp>
        <p:nvGrpSpPr>
          <p:cNvPr id="656" name="Grupo"/>
          <p:cNvGrpSpPr/>
          <p:nvPr/>
        </p:nvGrpSpPr>
        <p:grpSpPr>
          <a:xfrm>
            <a:off x="-264696" y="1063038"/>
            <a:ext cx="12192004" cy="4674772"/>
            <a:chOff x="0" y="0"/>
            <a:chExt cx="9144001" cy="3506077"/>
          </a:xfrm>
        </p:grpSpPr>
        <p:sp>
          <p:nvSpPr>
            <p:cNvPr id="652" name="Gas Natural Vehicular"/>
            <p:cNvSpPr txBox="1"/>
            <p:nvPr/>
          </p:nvSpPr>
          <p:spPr>
            <a:xfrm>
              <a:off x="0" y="322243"/>
              <a:ext cx="9144001" cy="100017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60959" tIns="60959" rIns="60959" bIns="60959" numCol="1" anchor="t">
              <a:spAutoFit/>
            </a:bodyPr>
            <a:lstStyle>
              <a:lvl1pPr algn="ctr">
                <a:defRPr sz="5900">
                  <a:solidFill>
                    <a:srgbClr val="FF186F"/>
                  </a:solidFill>
                </a:defRPr>
              </a:lvl1pPr>
            </a:lstStyle>
            <a:p>
              <a:r>
                <a:rPr lang="es-ES" sz="7866" dirty="0" smtClean="0">
                  <a:solidFill>
                    <a:schemeClr val="bg1"/>
                  </a:solidFill>
                </a:rPr>
                <a:t>Jornadas ALDEFE</a:t>
              </a:r>
              <a:endParaRPr sz="7866" dirty="0">
                <a:solidFill>
                  <a:schemeClr val="bg1"/>
                </a:solidFill>
              </a:endParaRPr>
            </a:p>
          </p:txBody>
        </p:sp>
        <p:sp>
          <p:nvSpPr>
            <p:cNvPr id="653" name="Movilidad Sostenible"/>
            <p:cNvSpPr txBox="1"/>
            <p:nvPr/>
          </p:nvSpPr>
          <p:spPr>
            <a:xfrm>
              <a:off x="1144588" y="0"/>
              <a:ext cx="6854826" cy="34240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60959" tIns="60959" rIns="60959" bIns="60959" numCol="1" anchor="t">
              <a:spAutoFit/>
            </a:bodyPr>
            <a:lstStyle>
              <a:lvl1pPr algn="ctr">
                <a:lnSpc>
                  <a:spcPts val="2600"/>
                </a:lnSpc>
                <a:defRPr>
                  <a:solidFill>
                    <a:srgbClr val="FFFFFF"/>
                  </a:solidFill>
                  <a:latin typeface="Univers LT Std 45 Light"/>
                  <a:ea typeface="Univers LT Std 45 Light"/>
                  <a:cs typeface="Univers LT Std 45 Light"/>
                  <a:sym typeface="Univers LT Std 45 Light"/>
                </a:defRPr>
              </a:lvl1pPr>
            </a:lstStyle>
            <a:p>
              <a:endParaRPr sz="2400" dirty="0"/>
            </a:p>
          </p:txBody>
        </p:sp>
        <p:sp>
          <p:nvSpPr>
            <p:cNvPr id="654" name="Rectángulo"/>
            <p:cNvSpPr/>
            <p:nvPr/>
          </p:nvSpPr>
          <p:spPr>
            <a:xfrm rot="5400000" flipH="1">
              <a:off x="4555335" y="1375477"/>
              <a:ext cx="88895" cy="325438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60959" tIns="60959" rIns="60959" bIns="60959" numCol="1" anchor="ctr">
              <a:noAutofit/>
            </a:bodyPr>
            <a:lstStyle/>
            <a:p>
              <a:pPr algn="ctr" defTabSz="914377">
                <a:defRPr sz="1300">
                  <a:solidFill>
                    <a:srgbClr val="FFFFFF"/>
                  </a:solidFill>
                </a:defRPr>
              </a:pPr>
              <a:endParaRPr sz="1733"/>
            </a:p>
          </p:txBody>
        </p:sp>
        <p:sp>
          <p:nvSpPr>
            <p:cNvPr id="655" name="Transporte Urbano, Interurbano y Recogida de Residuos"/>
            <p:cNvSpPr txBox="1"/>
            <p:nvPr/>
          </p:nvSpPr>
          <p:spPr>
            <a:xfrm>
              <a:off x="3312892" y="3182384"/>
              <a:ext cx="2573780" cy="32369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60959" tIns="60959" rIns="60959" bIns="60959" numCol="1" anchor="t">
              <a:spAutoFit/>
            </a:bodyPr>
            <a:lstStyle>
              <a:lvl1pPr algn="ctr" defTabSz="685800">
                <a:lnSpc>
                  <a:spcPts val="2600"/>
                </a:lnSpc>
                <a:defRPr sz="1500">
                  <a:solidFill>
                    <a:srgbClr val="FFFFFF"/>
                  </a:solidFill>
                  <a:latin typeface="Univers LT Std 45 Light"/>
                  <a:ea typeface="Univers LT Std 45 Light"/>
                  <a:cs typeface="Univers LT Std 45 Light"/>
                  <a:sym typeface="Univers LT Std 45 Light"/>
                </a:defRPr>
              </a:lvl1pPr>
            </a:lstStyle>
            <a:p>
              <a:r>
                <a:rPr lang="es-ES" sz="2000" dirty="0" smtClean="0"/>
                <a:t>Desarrollo Comercial </a:t>
              </a:r>
              <a:r>
                <a:rPr lang="es-ES" sz="2000" dirty="0" err="1" smtClean="0"/>
                <a:t>Enel</a:t>
              </a:r>
              <a:r>
                <a:rPr lang="es-ES" sz="2000" dirty="0" smtClean="0"/>
                <a:t>-X </a:t>
              </a:r>
              <a:endParaRPr sz="2000" dirty="0"/>
            </a:p>
          </p:txBody>
        </p:sp>
      </p:grpSp>
      <p:pic>
        <p:nvPicPr>
          <p:cNvPr id="657" name="image.png" descr="image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78967" y="6294967"/>
            <a:ext cx="1634067" cy="535517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Shape 369"/>
          <p:cNvSpPr/>
          <p:nvPr/>
        </p:nvSpPr>
        <p:spPr>
          <a:xfrm>
            <a:off x="1327681" y="3533963"/>
            <a:ext cx="9235155" cy="628016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5400" tIns="25400" rIns="25400" bIns="25400" anchor="ctr">
            <a:noAutofit/>
          </a:bodyPr>
          <a:lstStyle/>
          <a:p>
            <a:pPr marL="0" marR="0" lvl="0" indent="0" algn="ctr" defTabSz="412750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100">
                <a:solidFill>
                  <a:srgbClr val="FFFFFF"/>
                </a:solidFill>
                <a:latin typeface="Univers LT Std 45 Light"/>
                <a:ea typeface="Univers LT Std 45 Light"/>
                <a:cs typeface="Univers LT Std 45 Light"/>
                <a:sym typeface="Univers LT Std 45 Light"/>
              </a:defRPr>
            </a:pPr>
            <a:r>
              <a:rPr lang="es-ES" sz="3600" kern="0" dirty="0" smtClean="0">
                <a:solidFill>
                  <a:srgbClr val="FFFFFF"/>
                </a:solidFill>
                <a:latin typeface="Univers LT Std 45 Light"/>
                <a:ea typeface="Arial"/>
                <a:cs typeface="Arial"/>
                <a:sym typeface="Arial"/>
              </a:rPr>
              <a:t>El gas natural como combustible profesional para el transporte </a:t>
            </a:r>
            <a:endParaRPr kumimoji="0" lang="es-ES" sz="360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LT Std 45 Light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5934289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object 66"/>
          <p:cNvSpPr/>
          <p:nvPr/>
        </p:nvSpPr>
        <p:spPr>
          <a:xfrm>
            <a:off x="0" y="1"/>
            <a:ext cx="12220278" cy="158816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" name="Imagen 1" descr="caca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78" y="-1"/>
            <a:ext cx="12192000" cy="1588169"/>
          </a:xfrm>
          <a:prstGeom prst="rect">
            <a:avLst/>
          </a:prstGeom>
        </p:spPr>
      </p:pic>
      <p:sp>
        <p:nvSpPr>
          <p:cNvPr id="369" name="Shape 369"/>
          <p:cNvSpPr/>
          <p:nvPr/>
        </p:nvSpPr>
        <p:spPr>
          <a:xfrm>
            <a:off x="398145" y="251141"/>
            <a:ext cx="10232034" cy="628016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5400" tIns="25400" rIns="25400" bIns="25400" anchor="ctr">
            <a:normAutofit/>
          </a:bodyPr>
          <a:lstStyle/>
          <a:p>
            <a:pPr defTabSz="412750" hangingPunct="0">
              <a:lnSpc>
                <a:spcPct val="90000"/>
              </a:lnSpc>
              <a:defRPr sz="5100">
                <a:solidFill>
                  <a:srgbClr val="FFFFFF"/>
                </a:solidFill>
                <a:latin typeface="Univers LT Std 45 Light"/>
                <a:ea typeface="Univers LT Std 45 Light"/>
                <a:cs typeface="Univers LT Std 45 Light"/>
                <a:sym typeface="Univers LT Std 45 Light"/>
              </a:defRPr>
            </a:pPr>
            <a:r>
              <a:rPr lang="es-ES" sz="2700" b="1" kern="0" dirty="0" smtClean="0">
                <a:solidFill>
                  <a:srgbClr val="FFFFFF"/>
                </a:solidFill>
                <a:latin typeface="Univers LT Std 45 Light"/>
                <a:ea typeface="Arial"/>
                <a:cs typeface="Arial"/>
                <a:sym typeface="Arial"/>
              </a:rPr>
              <a:t>Caso de éxito: Nuevas Relaciones de Colaboración</a:t>
            </a:r>
            <a:endParaRPr lang="es-ES" sz="2700" b="1" kern="0" dirty="0">
              <a:solidFill>
                <a:srgbClr val="FFFFFF"/>
              </a:solidFill>
              <a:latin typeface="Univers LT Std 45 Light"/>
              <a:ea typeface="Arial"/>
              <a:cs typeface="Arial"/>
              <a:sym typeface="Arial"/>
            </a:endParaRPr>
          </a:p>
        </p:txBody>
      </p:sp>
      <p:sp>
        <p:nvSpPr>
          <p:cNvPr id="432" name="Shape 432"/>
          <p:cNvSpPr/>
          <p:nvPr/>
        </p:nvSpPr>
        <p:spPr>
          <a:xfrm>
            <a:off x="-14198" y="-1"/>
            <a:ext cx="56557" cy="1130301"/>
          </a:xfrm>
          <a:prstGeom prst="rect">
            <a:avLst/>
          </a:prstGeom>
          <a:solidFill>
            <a:srgbClr val="0554FA"/>
          </a:solidFill>
          <a:ln w="3175">
            <a:miter lim="400000"/>
          </a:ln>
        </p:spPr>
        <p:txBody>
          <a:bodyPr lIns="25399" tIns="25399" rIns="25399" bIns="25399" anchor="ctr"/>
          <a:lstStyle/>
          <a:p>
            <a:pPr algn="ctr" defTabSz="412749" hangingPunct="0">
              <a:defRPr sz="2400"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sp>
        <p:nvSpPr>
          <p:cNvPr id="4" name="Rectángulo 3"/>
          <p:cNvSpPr/>
          <p:nvPr/>
        </p:nvSpPr>
        <p:spPr>
          <a:xfrm>
            <a:off x="1029242" y="4294775"/>
            <a:ext cx="2351101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Font typeface="Wingdings" panose="05000000000000000000" pitchFamily="2" charset="2"/>
              <a:buChar char="q"/>
            </a:pPr>
            <a:r>
              <a:rPr lang="es-ES" sz="10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Univers LT Std 45 Light"/>
              </a:rPr>
              <a:t>Plan de Movilidad hacía una logística sostenible</a:t>
            </a:r>
          </a:p>
          <a:p>
            <a:pPr marL="342900" indent="-342900" algn="just">
              <a:buFont typeface="Wingdings" panose="05000000000000000000" pitchFamily="2" charset="2"/>
              <a:buChar char="q"/>
            </a:pPr>
            <a:r>
              <a:rPr lang="es-ES" sz="10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Univers LT Std 45 Light"/>
              </a:rPr>
              <a:t>Objetivo en 5 años: 80% de la flota sea GNL </a:t>
            </a:r>
          </a:p>
          <a:p>
            <a:pPr marL="342900" indent="-342900" algn="just">
              <a:buFont typeface="Wingdings" panose="05000000000000000000" pitchFamily="2" charset="2"/>
              <a:buChar char="q"/>
            </a:pPr>
            <a:r>
              <a:rPr lang="es-ES" sz="105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Univers LT Std 45 Light"/>
              </a:rPr>
              <a:t>Reducción huella de  carbono y aumento de RSC</a:t>
            </a:r>
            <a:endParaRPr lang="es-ES" sz="1050" dirty="0">
              <a:solidFill>
                <a:schemeClr val="tx1">
                  <a:lumMod val="65000"/>
                  <a:lumOff val="35000"/>
                </a:schemeClr>
              </a:solidFill>
              <a:latin typeface="Univers LT Std 45 Light"/>
            </a:endParaRPr>
          </a:p>
        </p:txBody>
      </p:sp>
      <p:sp>
        <p:nvSpPr>
          <p:cNvPr id="12" name="Rectángulo 11"/>
          <p:cNvSpPr/>
          <p:nvPr/>
        </p:nvSpPr>
        <p:spPr>
          <a:xfrm>
            <a:off x="2086331" y="1864934"/>
            <a:ext cx="2503506" cy="12234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q"/>
            </a:pPr>
            <a:r>
              <a:rPr lang="es-ES" sz="105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ntrato a largo plazo garantizado </a:t>
            </a: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lang="es-ES" sz="105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Ubicación estratégica para </a:t>
            </a:r>
            <a:r>
              <a:rPr lang="es-ES" sz="105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gasinera</a:t>
            </a:r>
            <a:r>
              <a:rPr lang="es-ES" sz="105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lang="es-ES" sz="105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osicionamiento como flota sostenible: 16 camiones GNL con el objetivo de 40 en 2020</a:t>
            </a:r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5730" y="5381887"/>
            <a:ext cx="1121006" cy="235902"/>
          </a:xfrm>
          <a:prstGeom prst="rect">
            <a:avLst/>
          </a:prstGeom>
        </p:spPr>
      </p:pic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3743202198"/>
              </p:ext>
            </p:extLst>
          </p:nvPr>
        </p:nvGraphicFramePr>
        <p:xfrm>
          <a:off x="2240264" y="1813377"/>
          <a:ext cx="7711472" cy="51510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pic>
        <p:nvPicPr>
          <p:cNvPr id="11" name="Imagen 1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6034" y="5463788"/>
            <a:ext cx="1161974" cy="244523"/>
          </a:xfrm>
          <a:prstGeom prst="rect">
            <a:avLst/>
          </a:prstGeom>
        </p:spPr>
      </p:pic>
      <p:pic>
        <p:nvPicPr>
          <p:cNvPr id="3076" name="Picture 4" descr="Imagen relacionada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9785" y="5831601"/>
            <a:ext cx="926748" cy="5430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Rectángulo 37"/>
          <p:cNvSpPr/>
          <p:nvPr/>
        </p:nvSpPr>
        <p:spPr>
          <a:xfrm>
            <a:off x="4738255" y="4125781"/>
            <a:ext cx="289818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219170"/>
            <a:r>
              <a:rPr lang="es-ES" b="1" dirty="0" smtClean="0">
                <a:solidFill>
                  <a:prstClr val="black"/>
                </a:solidFill>
                <a:latin typeface="Calibri"/>
              </a:rPr>
              <a:t>CADENA DE SUMINISTRO MAS EFICIENTE Y SOSTENIBLE</a:t>
            </a:r>
            <a:endParaRPr lang="es-ES" b="1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4098" name="Picture 2" descr="Resultado de imagen de TRANSCENTRO MARIN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0931" y="2291315"/>
            <a:ext cx="1455805" cy="352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Shape 380"/>
          <p:cNvSpPr/>
          <p:nvPr/>
        </p:nvSpPr>
        <p:spPr>
          <a:xfrm>
            <a:off x="8786259" y="4125781"/>
            <a:ext cx="2487918" cy="1181529"/>
          </a:xfrm>
          <a:prstGeom prst="rect">
            <a:avLst/>
          </a:prstGeom>
          <a:ln w="12700">
            <a:solidFill>
              <a:srgbClr val="0555FA"/>
            </a:solidFill>
            <a:prstDash val="dash"/>
            <a:miter lim="400000"/>
          </a:ln>
        </p:spPr>
        <p:txBody>
          <a:bodyPr lIns="35719" tIns="35719" rIns="35719" bIns="35719" anchor="ctr"/>
          <a:lstStyle/>
          <a:p>
            <a:pPr algn="ctr" defTabSz="410765" hangingPunct="0">
              <a:defRPr sz="2200">
                <a:solidFill>
                  <a:srgbClr val="FFFFFF"/>
                </a:solidFill>
              </a:defRPr>
            </a:pPr>
            <a:endParaRPr sz="1650" kern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sp>
        <p:nvSpPr>
          <p:cNvPr id="19" name="Línea"/>
          <p:cNvSpPr/>
          <p:nvPr/>
        </p:nvSpPr>
        <p:spPr>
          <a:xfrm>
            <a:off x="2086332" y="5434255"/>
            <a:ext cx="1446102" cy="18353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552"/>
                </a:moveTo>
                <a:lnTo>
                  <a:pt x="27" y="21600"/>
                </a:lnTo>
                <a:cubicBezTo>
                  <a:pt x="18" y="14400"/>
                  <a:pt x="9" y="7200"/>
                  <a:pt x="0" y="0"/>
                </a:cubicBezTo>
              </a:path>
            </a:pathLst>
          </a:custGeom>
          <a:ln w="6350">
            <a:solidFill>
              <a:srgbClr val="FF5A0F"/>
            </a:solidFill>
            <a:headEnd type="oval"/>
          </a:ln>
        </p:spPr>
        <p:txBody>
          <a:bodyPr lIns="45719" rIns="45719" anchor="ctr"/>
          <a:lstStyle/>
          <a:p>
            <a:pPr>
              <a:defRPr>
                <a:latin typeface="Arial"/>
                <a:ea typeface="Arial"/>
                <a:cs typeface="Arial"/>
                <a:sym typeface="Arial"/>
              </a:defRPr>
            </a:pPr>
            <a:endParaRPr>
              <a:solidFill>
                <a:srgbClr val="FF5A0F"/>
              </a:solidFill>
            </a:endParaRPr>
          </a:p>
        </p:txBody>
      </p:sp>
      <p:sp>
        <p:nvSpPr>
          <p:cNvPr id="20" name="Shape 380"/>
          <p:cNvSpPr/>
          <p:nvPr/>
        </p:nvSpPr>
        <p:spPr>
          <a:xfrm>
            <a:off x="2058210" y="1834039"/>
            <a:ext cx="2487918" cy="1233897"/>
          </a:xfrm>
          <a:prstGeom prst="rect">
            <a:avLst/>
          </a:prstGeom>
          <a:ln w="12700">
            <a:solidFill>
              <a:srgbClr val="FF0F64"/>
            </a:solidFill>
            <a:prstDash val="dash"/>
            <a:miter lim="400000"/>
          </a:ln>
        </p:spPr>
        <p:txBody>
          <a:bodyPr lIns="35719" tIns="35719" rIns="35719" bIns="35719" anchor="ctr"/>
          <a:lstStyle/>
          <a:p>
            <a:pPr algn="ctr" defTabSz="410765" hangingPunct="0">
              <a:defRPr sz="2200">
                <a:solidFill>
                  <a:srgbClr val="FFFFFF"/>
                </a:solidFill>
              </a:defRPr>
            </a:pPr>
            <a:endParaRPr sz="1650" kern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sp>
        <p:nvSpPr>
          <p:cNvPr id="22" name="Línea"/>
          <p:cNvSpPr/>
          <p:nvPr/>
        </p:nvSpPr>
        <p:spPr>
          <a:xfrm flipV="1">
            <a:off x="4561632" y="2434867"/>
            <a:ext cx="825451" cy="8643"/>
          </a:xfrm>
          <a:prstGeom prst="line">
            <a:avLst/>
          </a:prstGeom>
          <a:ln w="6350">
            <a:solidFill>
              <a:srgbClr val="FF0F64"/>
            </a:solidFill>
            <a:tailEnd type="oval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23" name="Shape 380"/>
          <p:cNvSpPr/>
          <p:nvPr/>
        </p:nvSpPr>
        <p:spPr>
          <a:xfrm>
            <a:off x="960834" y="4237980"/>
            <a:ext cx="2487918" cy="1181529"/>
          </a:xfrm>
          <a:prstGeom prst="rect">
            <a:avLst/>
          </a:prstGeom>
          <a:ln w="12700">
            <a:solidFill>
              <a:srgbClr val="FF5A0F"/>
            </a:solidFill>
            <a:prstDash val="dash"/>
            <a:miter lim="400000"/>
          </a:ln>
        </p:spPr>
        <p:txBody>
          <a:bodyPr lIns="35719" tIns="35719" rIns="35719" bIns="35719" anchor="ctr"/>
          <a:lstStyle/>
          <a:p>
            <a:pPr algn="ctr" defTabSz="410765" hangingPunct="0">
              <a:defRPr sz="2200">
                <a:solidFill>
                  <a:srgbClr val="FFFFFF"/>
                </a:solidFill>
              </a:defRPr>
            </a:pPr>
            <a:endParaRPr sz="1650" kern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sp>
        <p:nvSpPr>
          <p:cNvPr id="24" name="Línea"/>
          <p:cNvSpPr/>
          <p:nvPr/>
        </p:nvSpPr>
        <p:spPr>
          <a:xfrm flipH="1">
            <a:off x="8638203" y="5305110"/>
            <a:ext cx="1392014" cy="31268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21552"/>
                </a:moveTo>
                <a:lnTo>
                  <a:pt x="27" y="21600"/>
                </a:lnTo>
                <a:cubicBezTo>
                  <a:pt x="18" y="14400"/>
                  <a:pt x="9" y="7200"/>
                  <a:pt x="0" y="0"/>
                </a:cubicBezTo>
              </a:path>
            </a:pathLst>
          </a:custGeom>
          <a:ln w="6350">
            <a:solidFill>
              <a:srgbClr val="0555FA"/>
            </a:solidFill>
            <a:headEnd type="oval"/>
          </a:ln>
        </p:spPr>
        <p:txBody>
          <a:bodyPr lIns="45719" rIns="45719" anchor="ctr"/>
          <a:lstStyle/>
          <a:p>
            <a:pPr>
              <a:defRPr>
                <a:latin typeface="Arial"/>
                <a:ea typeface="Arial"/>
                <a:cs typeface="Arial"/>
                <a:sym typeface="Arial"/>
              </a:defRPr>
            </a:pPr>
            <a:endParaRPr/>
          </a:p>
        </p:txBody>
      </p:sp>
      <p:sp>
        <p:nvSpPr>
          <p:cNvPr id="13" name="Rectángulo 12"/>
          <p:cNvSpPr/>
          <p:nvPr/>
        </p:nvSpPr>
        <p:spPr>
          <a:xfrm>
            <a:off x="8886311" y="4297831"/>
            <a:ext cx="2287813" cy="900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q"/>
            </a:pPr>
            <a:r>
              <a:rPr lang="es-ES" sz="105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nsumo de gas natural garantizado a largo plazo</a:t>
            </a: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lang="es-ES" sz="105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mpliar red de </a:t>
            </a:r>
            <a:r>
              <a:rPr lang="es-ES" sz="105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gasineras</a:t>
            </a:r>
            <a:endParaRPr lang="es-ES" sz="105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342900" indent="-342900">
              <a:buFont typeface="Wingdings" panose="05000000000000000000" pitchFamily="2" charset="2"/>
              <a:buChar char="q"/>
            </a:pPr>
            <a:r>
              <a:rPr lang="es-ES" sz="105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ncentivo para repostaje de terceros</a:t>
            </a:r>
          </a:p>
        </p:txBody>
      </p:sp>
    </p:spTree>
    <p:extLst>
      <p:ext uri="{BB962C8B-B14F-4D97-AF65-F5344CB8AC3E}">
        <p14:creationId xmlns:p14="http://schemas.microsoft.com/office/powerpoint/2010/main" val="3127366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" name="Shape 203"/>
          <p:cNvSpPr/>
          <p:nvPr/>
        </p:nvSpPr>
        <p:spPr>
          <a:xfrm>
            <a:off x="28278" y="1519690"/>
            <a:ext cx="7332532" cy="5329259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miter lim="400000"/>
          </a:ln>
        </p:spPr>
        <p:txBody>
          <a:bodyPr lIns="25400" tIns="25400" rIns="25400" bIns="25400" anchor="ctr"/>
          <a:lstStyle/>
          <a:p>
            <a:pPr algn="ctr" defTabSz="412750" hangingPunct="0">
              <a:defRPr sz="2400">
                <a:solidFill>
                  <a:srgbClr val="FFFFFF"/>
                </a:solidFill>
              </a:defRPr>
            </a:pPr>
            <a:endParaRPr kern="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Helvetica Light"/>
            </a:endParaRPr>
          </a:p>
        </p:txBody>
      </p:sp>
      <p:pic>
        <p:nvPicPr>
          <p:cNvPr id="205" name="shutterstock_519294493.jpg"/>
          <p:cNvPicPr>
            <a:picLocks/>
          </p:cNvPicPr>
          <p:nvPr/>
        </p:nvPicPr>
        <p:blipFill>
          <a:blip r:embed="rId3">
            <a:extLst/>
          </a:blip>
          <a:srcRect t="81003" r="16666"/>
          <a:stretch>
            <a:fillRect/>
          </a:stretch>
        </p:blipFill>
        <p:spPr>
          <a:xfrm>
            <a:off x="-1749" y="-19050"/>
            <a:ext cx="12195536" cy="1546391"/>
          </a:xfrm>
          <a:prstGeom prst="rect">
            <a:avLst/>
          </a:prstGeom>
          <a:ln w="12700">
            <a:miter lim="400000"/>
          </a:ln>
        </p:spPr>
      </p:pic>
      <p:sp>
        <p:nvSpPr>
          <p:cNvPr id="206" name="Shape 206"/>
          <p:cNvSpPr/>
          <p:nvPr/>
        </p:nvSpPr>
        <p:spPr>
          <a:xfrm>
            <a:off x="-14067" y="-47018"/>
            <a:ext cx="12225198" cy="1526712"/>
          </a:xfrm>
          <a:prstGeom prst="rect">
            <a:avLst/>
          </a:prstGeom>
          <a:gradFill>
            <a:gsLst>
              <a:gs pos="0">
                <a:srgbClr val="000000">
                  <a:alpha val="42684"/>
                </a:srgbClr>
              </a:gs>
              <a:gs pos="100000">
                <a:srgbClr val="000000">
                  <a:alpha val="0"/>
                </a:srgbClr>
              </a:gs>
            </a:gsLst>
            <a:path>
              <a:fillToRect l="46961" t="67188" r="53038" b="32811"/>
            </a:path>
          </a:gradFill>
          <a:ln w="12700">
            <a:miter lim="400000"/>
          </a:ln>
        </p:spPr>
        <p:txBody>
          <a:bodyPr lIns="35719" tIns="35719" rIns="35719" bIns="35719" anchor="ctr"/>
          <a:lstStyle/>
          <a:p>
            <a:pPr algn="ctr" defTabSz="410765" hangingPunct="0">
              <a:defRPr/>
            </a:pPr>
            <a:endParaRPr sz="2400" kern="0">
              <a:solidFill>
                <a:srgbClr val="000000"/>
              </a:solidFill>
              <a:latin typeface="Helvetica Light"/>
              <a:sym typeface="Helvetica Light"/>
            </a:endParaRPr>
          </a:p>
        </p:txBody>
      </p:sp>
      <p:sp>
        <p:nvSpPr>
          <p:cNvPr id="207" name="Shape 207"/>
          <p:cNvSpPr/>
          <p:nvPr/>
        </p:nvSpPr>
        <p:spPr>
          <a:xfrm>
            <a:off x="-1" y="-1"/>
            <a:ext cx="56557" cy="1130301"/>
          </a:xfrm>
          <a:prstGeom prst="rect">
            <a:avLst/>
          </a:prstGeom>
          <a:solidFill>
            <a:srgbClr val="0554FA"/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 algn="ctr" defTabSz="412749" hangingPunct="0">
              <a:defRPr sz="2400"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sp>
        <p:nvSpPr>
          <p:cNvPr id="208" name="Shape 208"/>
          <p:cNvSpPr/>
          <p:nvPr/>
        </p:nvSpPr>
        <p:spPr>
          <a:xfrm>
            <a:off x="485341" y="6411800"/>
            <a:ext cx="796693" cy="18755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35719" tIns="35719" rIns="35719" bIns="35719" anchor="ctr">
            <a:spAutoFit/>
          </a:bodyPr>
          <a:lstStyle>
            <a:lvl1pPr algn="l" defTabSz="457200">
              <a:defRPr sz="1000">
                <a:solidFill>
                  <a:srgbClr val="A6A6A6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342900" hangingPunct="0">
              <a:defRPr/>
            </a:pPr>
            <a:r>
              <a:rPr sz="750" kern="0"/>
              <a:t>Fuente: UE 2016</a:t>
            </a:r>
          </a:p>
        </p:txBody>
      </p:sp>
      <p:sp>
        <p:nvSpPr>
          <p:cNvPr id="209" name="Shape 209"/>
          <p:cNvSpPr/>
          <p:nvPr/>
        </p:nvSpPr>
        <p:spPr>
          <a:xfrm>
            <a:off x="433527" y="746039"/>
            <a:ext cx="8104759" cy="5346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25399" tIns="25399" rIns="25399" bIns="25399" anchor="ctr">
            <a:normAutofit/>
          </a:bodyPr>
          <a:lstStyle>
            <a:lvl1pPr algn="l" defTabSz="550332">
              <a:lnSpc>
                <a:spcPct val="81000"/>
              </a:lnSpc>
              <a:defRPr sz="5100">
                <a:solidFill>
                  <a:srgbClr val="FFFFFF"/>
                </a:solidFill>
                <a:latin typeface="Univers LT Std 45 Light"/>
                <a:ea typeface="Univers LT Std 45 Light"/>
                <a:cs typeface="Univers LT Std 45 Light"/>
                <a:sym typeface="Univers LT Std 45 Light"/>
              </a:defRPr>
            </a:lvl1pPr>
          </a:lstStyle>
          <a:p>
            <a:pPr defTabSz="412749" hangingPunct="0">
              <a:defRPr/>
            </a:pPr>
            <a:r>
              <a:rPr lang="es-ES" sz="3825" kern="0" dirty="0" smtClean="0"/>
              <a:t>El</a:t>
            </a:r>
            <a:r>
              <a:rPr sz="3825" kern="0" dirty="0" smtClean="0"/>
              <a:t> </a:t>
            </a:r>
            <a:r>
              <a:rPr lang="es-ES" sz="3825" kern="0" dirty="0"/>
              <a:t>s</a:t>
            </a:r>
            <a:r>
              <a:rPr sz="3825" kern="0" dirty="0" err="1" smtClean="0"/>
              <a:t>ector</a:t>
            </a:r>
            <a:r>
              <a:rPr sz="3825" kern="0" dirty="0" smtClean="0"/>
              <a:t> </a:t>
            </a:r>
            <a:r>
              <a:rPr sz="3825" kern="0" dirty="0"/>
              <a:t>del </a:t>
            </a:r>
            <a:r>
              <a:rPr sz="3825" kern="0" dirty="0" err="1" smtClean="0"/>
              <a:t>transporte</a:t>
            </a:r>
            <a:r>
              <a:rPr lang="es-ES" sz="3825" kern="0" dirty="0" smtClean="0"/>
              <a:t> y la energía</a:t>
            </a:r>
            <a:endParaRPr sz="3825" kern="0" dirty="0"/>
          </a:p>
        </p:txBody>
      </p:sp>
      <p:grpSp>
        <p:nvGrpSpPr>
          <p:cNvPr id="6" name="Grupo 5"/>
          <p:cNvGrpSpPr/>
          <p:nvPr/>
        </p:nvGrpSpPr>
        <p:grpSpPr>
          <a:xfrm>
            <a:off x="696982" y="2865677"/>
            <a:ext cx="6567956" cy="3210289"/>
            <a:chOff x="631531" y="2549676"/>
            <a:chExt cx="11273391" cy="5910049"/>
          </a:xfrm>
        </p:grpSpPr>
        <p:grpSp>
          <p:nvGrpSpPr>
            <p:cNvPr id="222" name="Group 222"/>
            <p:cNvGrpSpPr/>
            <p:nvPr/>
          </p:nvGrpSpPr>
          <p:grpSpPr>
            <a:xfrm>
              <a:off x="7504103" y="7260267"/>
              <a:ext cx="3805617" cy="1199458"/>
              <a:chOff x="0" y="-93970"/>
              <a:chExt cx="3805616" cy="1199456"/>
            </a:xfrm>
          </p:grpSpPr>
          <p:sp>
            <p:nvSpPr>
              <p:cNvPr id="210" name="Shape 210"/>
              <p:cNvSpPr/>
              <p:nvPr/>
            </p:nvSpPr>
            <p:spPr>
              <a:xfrm>
                <a:off x="218885" y="611475"/>
                <a:ext cx="1576570" cy="49401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none" lIns="35719" tIns="35719" rIns="35719" bIns="35719" numCol="1" anchor="ctr">
                <a:spAutoFit/>
              </a:bodyPr>
              <a:lstStyle>
                <a:lvl1pPr algn="l" defTabSz="1219200">
                  <a:spcBef>
                    <a:spcPts val="1600"/>
                  </a:spcBef>
                  <a:defRPr sz="1700">
                    <a:solidFill>
                      <a:srgbClr val="052072"/>
                    </a:solidFill>
                    <a:latin typeface="Univers LT Std 45 Light"/>
                    <a:ea typeface="Univers LT Std 45 Light"/>
                    <a:cs typeface="Univers LT Std 45 Light"/>
                    <a:sym typeface="Univers LT Std 45 Light"/>
                  </a:defRPr>
                </a:lvl1pPr>
              </a:lstStyle>
              <a:p>
                <a:pPr defTabSz="914400" hangingPunct="0">
                  <a:spcBef>
                    <a:spcPts val="1200"/>
                  </a:spcBef>
                  <a:defRPr/>
                </a:pPr>
                <a:r>
                  <a:rPr sz="1275" kern="0" dirty="0"/>
                  <a:t>Gas natural</a:t>
                </a:r>
              </a:p>
            </p:txBody>
          </p:sp>
          <p:sp>
            <p:nvSpPr>
              <p:cNvPr id="211" name="Shape 211"/>
              <p:cNvSpPr/>
              <p:nvPr/>
            </p:nvSpPr>
            <p:spPr>
              <a:xfrm>
                <a:off x="0" y="745855"/>
                <a:ext cx="174450" cy="174450"/>
              </a:xfrm>
              <a:prstGeom prst="ellipse">
                <a:avLst/>
              </a:prstGeom>
              <a:solidFill>
                <a:srgbClr val="042072"/>
              </a:solidFill>
              <a:ln w="3175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algn="ctr" defTabSz="410765" hangingPunct="0">
                  <a:defRPr sz="2200">
                    <a:solidFill>
                      <a:srgbClr val="FFFFFF"/>
                    </a:solidFill>
                  </a:defRPr>
                </a:pPr>
                <a:endParaRPr sz="1650" kern="0">
                  <a:solidFill>
                    <a:srgbClr val="FFFFFF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212" name="Shape 212"/>
              <p:cNvSpPr/>
              <p:nvPr/>
            </p:nvSpPr>
            <p:spPr>
              <a:xfrm>
                <a:off x="218885" y="271452"/>
                <a:ext cx="1172110" cy="49401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none" lIns="35719" tIns="35719" rIns="35719" bIns="35719" numCol="1" anchor="ctr">
                <a:spAutoFit/>
              </a:bodyPr>
              <a:lstStyle>
                <a:lvl1pPr algn="l" defTabSz="1219200">
                  <a:spcBef>
                    <a:spcPts val="1600"/>
                  </a:spcBef>
                  <a:defRPr sz="1700">
                    <a:solidFill>
                      <a:srgbClr val="0A38B3"/>
                    </a:solidFill>
                    <a:latin typeface="Univers LT Std 45 Light"/>
                    <a:ea typeface="Univers LT Std 45 Light"/>
                    <a:cs typeface="Univers LT Std 45 Light"/>
                    <a:sym typeface="Univers LT Std 45 Light"/>
                  </a:defRPr>
                </a:lvl1pPr>
              </a:lstStyle>
              <a:p>
                <a:pPr defTabSz="914400" hangingPunct="0">
                  <a:spcBef>
                    <a:spcPts val="1200"/>
                  </a:spcBef>
                  <a:defRPr/>
                </a:pPr>
                <a:r>
                  <a:rPr sz="1275" kern="0"/>
                  <a:t>Gasóleo</a:t>
                </a:r>
              </a:p>
            </p:txBody>
          </p:sp>
          <p:sp>
            <p:nvSpPr>
              <p:cNvPr id="213" name="Shape 213"/>
              <p:cNvSpPr/>
              <p:nvPr/>
            </p:nvSpPr>
            <p:spPr>
              <a:xfrm>
                <a:off x="0" y="405832"/>
                <a:ext cx="174450" cy="174450"/>
              </a:xfrm>
              <a:prstGeom prst="ellipse">
                <a:avLst/>
              </a:prstGeom>
              <a:solidFill>
                <a:srgbClr val="0A38B3"/>
              </a:solidFill>
              <a:ln w="3175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algn="ctr" defTabSz="410765" hangingPunct="0">
                  <a:defRPr sz="2200">
                    <a:solidFill>
                      <a:srgbClr val="FFFFFF"/>
                    </a:solidFill>
                  </a:defRPr>
                </a:pPr>
                <a:endParaRPr sz="1650" kern="0">
                  <a:solidFill>
                    <a:srgbClr val="FFFFFF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214" name="Shape 214"/>
              <p:cNvSpPr/>
              <p:nvPr/>
            </p:nvSpPr>
            <p:spPr>
              <a:xfrm>
                <a:off x="0" y="40410"/>
                <a:ext cx="174450" cy="174451"/>
              </a:xfrm>
              <a:prstGeom prst="ellipse">
                <a:avLst/>
              </a:prstGeom>
              <a:solidFill>
                <a:srgbClr val="1269F7"/>
              </a:solidFill>
              <a:ln w="3175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algn="ctr" defTabSz="410765" hangingPunct="0">
                  <a:defRPr sz="2200">
                    <a:solidFill>
                      <a:srgbClr val="FFFFFF"/>
                    </a:solidFill>
                  </a:defRPr>
                </a:pPr>
                <a:endParaRPr sz="1650" kern="0">
                  <a:solidFill>
                    <a:srgbClr val="FFFFFF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215" name="Shape 215"/>
              <p:cNvSpPr/>
              <p:nvPr/>
            </p:nvSpPr>
            <p:spPr>
              <a:xfrm>
                <a:off x="218885" y="-93970"/>
                <a:ext cx="1235393" cy="49401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none" lIns="35719" tIns="35719" rIns="35719" bIns="35719" numCol="1" anchor="ctr">
                <a:spAutoFit/>
              </a:bodyPr>
              <a:lstStyle>
                <a:lvl1pPr algn="l" defTabSz="1219200">
                  <a:spcBef>
                    <a:spcPts val="1600"/>
                  </a:spcBef>
                  <a:defRPr sz="1700">
                    <a:solidFill>
                      <a:srgbClr val="1269F7"/>
                    </a:solidFill>
                    <a:latin typeface="Univers LT Std 45 Light"/>
                    <a:ea typeface="Univers LT Std 45 Light"/>
                    <a:cs typeface="Univers LT Std 45 Light"/>
                    <a:sym typeface="Univers LT Std 45 Light"/>
                  </a:defRPr>
                </a:lvl1pPr>
              </a:lstStyle>
              <a:p>
                <a:pPr defTabSz="914400" hangingPunct="0">
                  <a:spcBef>
                    <a:spcPts val="1200"/>
                  </a:spcBef>
                  <a:defRPr/>
                </a:pPr>
                <a:r>
                  <a:rPr sz="1275" kern="0"/>
                  <a:t>Gasolina</a:t>
                </a:r>
              </a:p>
            </p:txBody>
          </p:sp>
          <p:sp>
            <p:nvSpPr>
              <p:cNvPr id="216" name="Shape 216"/>
              <p:cNvSpPr/>
              <p:nvPr/>
            </p:nvSpPr>
            <p:spPr>
              <a:xfrm>
                <a:off x="1710252" y="40410"/>
                <a:ext cx="174450" cy="174450"/>
              </a:xfrm>
              <a:prstGeom prst="ellipse">
                <a:avLst/>
              </a:prstGeom>
              <a:solidFill>
                <a:srgbClr val="2DACE1"/>
              </a:solidFill>
              <a:ln w="3175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algn="ctr" defTabSz="410765" hangingPunct="0">
                  <a:defRPr sz="2200">
                    <a:solidFill>
                      <a:srgbClr val="FFFFFF"/>
                    </a:solidFill>
                  </a:defRPr>
                </a:pPr>
                <a:endParaRPr sz="1650" kern="0">
                  <a:solidFill>
                    <a:srgbClr val="FFFFFF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217" name="Shape 217"/>
              <p:cNvSpPr/>
              <p:nvPr/>
            </p:nvSpPr>
            <p:spPr>
              <a:xfrm>
                <a:off x="1929139" y="-93970"/>
                <a:ext cx="1579323" cy="49401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none" lIns="35719" tIns="35719" rIns="35719" bIns="35719" numCol="1" anchor="ctr">
                <a:spAutoFit/>
              </a:bodyPr>
              <a:lstStyle>
                <a:lvl1pPr algn="l" defTabSz="1219200">
                  <a:spcBef>
                    <a:spcPts val="1600"/>
                  </a:spcBef>
                  <a:defRPr sz="1700">
                    <a:solidFill>
                      <a:srgbClr val="2DACE1"/>
                    </a:solidFill>
                    <a:latin typeface="Univers LT Std 45 Light"/>
                    <a:ea typeface="Univers LT Std 45 Light"/>
                    <a:cs typeface="Univers LT Std 45 Light"/>
                    <a:sym typeface="Univers LT Std 45 Light"/>
                  </a:defRPr>
                </a:lvl1pPr>
              </a:lstStyle>
              <a:p>
                <a:pPr defTabSz="914400" hangingPunct="0">
                  <a:spcBef>
                    <a:spcPts val="1200"/>
                  </a:spcBef>
                  <a:defRPr/>
                </a:pPr>
                <a:r>
                  <a:rPr sz="1275" kern="0"/>
                  <a:t>Electricidad</a:t>
                </a:r>
              </a:p>
            </p:txBody>
          </p:sp>
          <p:sp>
            <p:nvSpPr>
              <p:cNvPr id="218" name="Shape 218"/>
              <p:cNvSpPr/>
              <p:nvPr/>
            </p:nvSpPr>
            <p:spPr>
              <a:xfrm>
                <a:off x="1710252" y="745854"/>
                <a:ext cx="174450" cy="174450"/>
              </a:xfrm>
              <a:prstGeom prst="ellipse">
                <a:avLst/>
              </a:prstGeom>
              <a:solidFill>
                <a:srgbClr val="77DAFF"/>
              </a:solidFill>
              <a:ln w="3175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algn="ctr" defTabSz="410765" hangingPunct="0">
                  <a:defRPr sz="2200">
                    <a:solidFill>
                      <a:srgbClr val="FFFFFF"/>
                    </a:solidFill>
                  </a:defRPr>
                </a:pPr>
                <a:endParaRPr sz="1650" kern="0">
                  <a:solidFill>
                    <a:srgbClr val="FFFFFF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219" name="Shape 219"/>
              <p:cNvSpPr/>
              <p:nvPr/>
            </p:nvSpPr>
            <p:spPr>
              <a:xfrm>
                <a:off x="1929139" y="611473"/>
                <a:ext cx="685107" cy="49401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none" lIns="35719" tIns="35719" rIns="35719" bIns="35719" numCol="1" anchor="ctr">
                <a:spAutoFit/>
              </a:bodyPr>
              <a:lstStyle>
                <a:lvl1pPr algn="l" defTabSz="1219200">
                  <a:spcBef>
                    <a:spcPts val="1600"/>
                  </a:spcBef>
                  <a:defRPr sz="1700">
                    <a:solidFill>
                      <a:srgbClr val="77DAFF"/>
                    </a:solidFill>
                    <a:latin typeface="Univers LT Std 45 Light"/>
                    <a:ea typeface="Univers LT Std 45 Light"/>
                    <a:cs typeface="Univers LT Std 45 Light"/>
                    <a:sym typeface="Univers LT Std 45 Light"/>
                  </a:defRPr>
                </a:lvl1pPr>
              </a:lstStyle>
              <a:p>
                <a:pPr defTabSz="914400" hangingPunct="0">
                  <a:spcBef>
                    <a:spcPts val="1200"/>
                  </a:spcBef>
                  <a:defRPr/>
                </a:pPr>
                <a:r>
                  <a:rPr sz="1275" kern="0"/>
                  <a:t>GLP</a:t>
                </a:r>
              </a:p>
            </p:txBody>
          </p:sp>
          <p:sp>
            <p:nvSpPr>
              <p:cNvPr id="220" name="Shape 220"/>
              <p:cNvSpPr/>
              <p:nvPr/>
            </p:nvSpPr>
            <p:spPr>
              <a:xfrm>
                <a:off x="1929139" y="271451"/>
                <a:ext cx="1876477" cy="49401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none" lIns="35719" tIns="35719" rIns="35719" bIns="35719" numCol="1" anchor="ctr">
                <a:spAutoFit/>
              </a:bodyPr>
              <a:lstStyle>
                <a:lvl1pPr algn="l" defTabSz="1219200">
                  <a:spcBef>
                    <a:spcPts val="1600"/>
                  </a:spcBef>
                  <a:defRPr sz="1700">
                    <a:solidFill>
                      <a:srgbClr val="42CAF8"/>
                    </a:solidFill>
                    <a:latin typeface="Univers LT Std 45 Light"/>
                    <a:ea typeface="Univers LT Std 45 Light"/>
                    <a:cs typeface="Univers LT Std 45 Light"/>
                    <a:sym typeface="Univers LT Std 45 Light"/>
                  </a:defRPr>
                </a:lvl1pPr>
              </a:lstStyle>
              <a:p>
                <a:pPr defTabSz="914400" hangingPunct="0">
                  <a:spcBef>
                    <a:spcPts val="1200"/>
                  </a:spcBef>
                  <a:defRPr/>
                </a:pPr>
                <a:r>
                  <a:rPr sz="1275" kern="0" dirty="0" err="1"/>
                  <a:t>Biocarburante</a:t>
                </a:r>
                <a:endParaRPr sz="1275" kern="0" dirty="0"/>
              </a:p>
            </p:txBody>
          </p:sp>
          <p:sp>
            <p:nvSpPr>
              <p:cNvPr id="221" name="Shape 221"/>
              <p:cNvSpPr/>
              <p:nvPr/>
            </p:nvSpPr>
            <p:spPr>
              <a:xfrm>
                <a:off x="1710252" y="405832"/>
                <a:ext cx="174450" cy="174450"/>
              </a:xfrm>
              <a:prstGeom prst="ellipse">
                <a:avLst/>
              </a:prstGeom>
              <a:solidFill>
                <a:srgbClr val="42CAF8"/>
              </a:solidFill>
              <a:ln w="3175" cap="flat">
                <a:noFill/>
                <a:miter lim="400000"/>
              </a:ln>
              <a:effectLst/>
            </p:spPr>
            <p:txBody>
              <a:bodyPr wrap="square" lIns="0" tIns="0" rIns="0" bIns="0" numCol="1" anchor="t">
                <a:noAutofit/>
              </a:bodyPr>
              <a:lstStyle/>
              <a:p>
                <a:pPr algn="ctr" defTabSz="410765" hangingPunct="0">
                  <a:defRPr sz="2200">
                    <a:solidFill>
                      <a:srgbClr val="FFFFFF"/>
                    </a:solidFill>
                  </a:defRPr>
                </a:pPr>
                <a:endParaRPr sz="1650" kern="0">
                  <a:solidFill>
                    <a:srgbClr val="FFFFFF"/>
                  </a:solidFill>
                  <a:latin typeface="Helvetica Light"/>
                  <a:sym typeface="Helvetica Light"/>
                </a:endParaRPr>
              </a:p>
            </p:txBody>
          </p:sp>
        </p:grpSp>
        <p:grpSp>
          <p:nvGrpSpPr>
            <p:cNvPr id="254" name="Group 254"/>
            <p:cNvGrpSpPr/>
            <p:nvPr/>
          </p:nvGrpSpPr>
          <p:grpSpPr>
            <a:xfrm>
              <a:off x="631531" y="2549676"/>
              <a:ext cx="5273478" cy="4825411"/>
              <a:chOff x="0" y="-136346"/>
              <a:chExt cx="5273476" cy="4825410"/>
            </a:xfrm>
          </p:grpSpPr>
          <p:grpSp>
            <p:nvGrpSpPr>
              <p:cNvPr id="232" name="Group 232"/>
              <p:cNvGrpSpPr/>
              <p:nvPr/>
            </p:nvGrpSpPr>
            <p:grpSpPr>
              <a:xfrm>
                <a:off x="551522" y="120374"/>
                <a:ext cx="4721954" cy="4062776"/>
                <a:chOff x="0" y="0"/>
                <a:chExt cx="4721952" cy="4062775"/>
              </a:xfrm>
            </p:grpSpPr>
            <p:sp>
              <p:nvSpPr>
                <p:cNvPr id="223" name="Shape 223"/>
                <p:cNvSpPr/>
                <p:nvPr/>
              </p:nvSpPr>
              <p:spPr>
                <a:xfrm>
                  <a:off x="0" y="0"/>
                  <a:ext cx="4692109" cy="0"/>
                </a:xfrm>
                <a:prstGeom prst="line">
                  <a:avLst/>
                </a:prstGeom>
                <a:noFill/>
                <a:ln w="9525" cap="flat">
                  <a:solidFill>
                    <a:srgbClr val="777776">
                      <a:alpha val="27280"/>
                    </a:srgbClr>
                  </a:solidFill>
                  <a:prstDash val="solid"/>
                  <a:miter lim="400000"/>
                </a:ln>
                <a:effectLst/>
              </p:spPr>
              <p:txBody>
                <a:bodyPr wrap="square" lIns="34289" tIns="34289" rIns="34289" bIns="34289" numCol="1" anchor="t">
                  <a:noAutofit/>
                </a:bodyPr>
                <a:lstStyle/>
                <a:p>
                  <a:pPr algn="ctr" defTabSz="410765" hangingPunct="0">
                    <a:defRPr/>
                  </a:pPr>
                  <a:endParaRPr sz="2400" kern="0">
                    <a:solidFill>
                      <a:srgbClr val="000000"/>
                    </a:solidFill>
                    <a:latin typeface="Helvetica Light"/>
                    <a:sym typeface="Helvetica Light"/>
                  </a:endParaRPr>
                </a:p>
              </p:txBody>
            </p:sp>
            <p:sp>
              <p:nvSpPr>
                <p:cNvPr id="224" name="Shape 224"/>
                <p:cNvSpPr/>
                <p:nvPr/>
              </p:nvSpPr>
              <p:spPr>
                <a:xfrm>
                  <a:off x="0" y="507846"/>
                  <a:ext cx="4692109" cy="1"/>
                </a:xfrm>
                <a:prstGeom prst="line">
                  <a:avLst/>
                </a:prstGeom>
                <a:noFill/>
                <a:ln w="9525" cap="flat">
                  <a:solidFill>
                    <a:srgbClr val="777776">
                      <a:alpha val="27280"/>
                    </a:srgbClr>
                  </a:solidFill>
                  <a:prstDash val="solid"/>
                  <a:miter lim="400000"/>
                </a:ln>
                <a:effectLst/>
              </p:spPr>
              <p:txBody>
                <a:bodyPr wrap="square" lIns="34289" tIns="34289" rIns="34289" bIns="34289" numCol="1" anchor="t">
                  <a:noAutofit/>
                </a:bodyPr>
                <a:lstStyle/>
                <a:p>
                  <a:pPr algn="ctr" defTabSz="410765" hangingPunct="0">
                    <a:defRPr/>
                  </a:pPr>
                  <a:endParaRPr sz="2400" kern="0">
                    <a:solidFill>
                      <a:srgbClr val="000000"/>
                    </a:solidFill>
                    <a:latin typeface="Helvetica Light"/>
                    <a:sym typeface="Helvetica Light"/>
                  </a:endParaRPr>
                </a:p>
              </p:txBody>
            </p:sp>
            <p:sp>
              <p:nvSpPr>
                <p:cNvPr id="225" name="Shape 225"/>
                <p:cNvSpPr/>
                <p:nvPr/>
              </p:nvSpPr>
              <p:spPr>
                <a:xfrm>
                  <a:off x="0" y="1015693"/>
                  <a:ext cx="4692109" cy="1"/>
                </a:xfrm>
                <a:prstGeom prst="line">
                  <a:avLst/>
                </a:prstGeom>
                <a:noFill/>
                <a:ln w="9525" cap="flat">
                  <a:solidFill>
                    <a:srgbClr val="777776">
                      <a:alpha val="27280"/>
                    </a:srgbClr>
                  </a:solidFill>
                  <a:prstDash val="solid"/>
                  <a:miter lim="400000"/>
                </a:ln>
                <a:effectLst/>
              </p:spPr>
              <p:txBody>
                <a:bodyPr wrap="square" lIns="34289" tIns="34289" rIns="34289" bIns="34289" numCol="1" anchor="t">
                  <a:noAutofit/>
                </a:bodyPr>
                <a:lstStyle/>
                <a:p>
                  <a:pPr algn="ctr" defTabSz="410765" hangingPunct="0">
                    <a:defRPr/>
                  </a:pPr>
                  <a:endParaRPr sz="2400" kern="0">
                    <a:solidFill>
                      <a:srgbClr val="000000"/>
                    </a:solidFill>
                    <a:latin typeface="Helvetica Light"/>
                    <a:sym typeface="Helvetica Light"/>
                  </a:endParaRPr>
                </a:p>
              </p:txBody>
            </p:sp>
            <p:sp>
              <p:nvSpPr>
                <p:cNvPr id="226" name="Shape 226"/>
                <p:cNvSpPr/>
                <p:nvPr/>
              </p:nvSpPr>
              <p:spPr>
                <a:xfrm>
                  <a:off x="0" y="1523540"/>
                  <a:ext cx="4692109" cy="1"/>
                </a:xfrm>
                <a:prstGeom prst="line">
                  <a:avLst/>
                </a:prstGeom>
                <a:noFill/>
                <a:ln w="9525" cap="flat">
                  <a:solidFill>
                    <a:srgbClr val="777776">
                      <a:alpha val="27280"/>
                    </a:srgbClr>
                  </a:solidFill>
                  <a:prstDash val="solid"/>
                  <a:miter lim="400000"/>
                </a:ln>
                <a:effectLst/>
              </p:spPr>
              <p:txBody>
                <a:bodyPr wrap="square" lIns="34289" tIns="34289" rIns="34289" bIns="34289" numCol="1" anchor="t">
                  <a:noAutofit/>
                </a:bodyPr>
                <a:lstStyle/>
                <a:p>
                  <a:pPr algn="ctr" defTabSz="410765" hangingPunct="0">
                    <a:defRPr/>
                  </a:pPr>
                  <a:endParaRPr sz="2400" kern="0">
                    <a:solidFill>
                      <a:srgbClr val="000000"/>
                    </a:solidFill>
                    <a:latin typeface="Helvetica Light"/>
                    <a:sym typeface="Helvetica Light"/>
                  </a:endParaRPr>
                </a:p>
              </p:txBody>
            </p:sp>
            <p:sp>
              <p:nvSpPr>
                <p:cNvPr id="227" name="Shape 227"/>
                <p:cNvSpPr/>
                <p:nvPr/>
              </p:nvSpPr>
              <p:spPr>
                <a:xfrm>
                  <a:off x="0" y="2031387"/>
                  <a:ext cx="4721953" cy="1"/>
                </a:xfrm>
                <a:prstGeom prst="line">
                  <a:avLst/>
                </a:prstGeom>
                <a:noFill/>
                <a:ln w="9525" cap="flat">
                  <a:solidFill>
                    <a:srgbClr val="777776">
                      <a:alpha val="27280"/>
                    </a:srgbClr>
                  </a:solidFill>
                  <a:prstDash val="solid"/>
                  <a:miter lim="400000"/>
                </a:ln>
                <a:effectLst/>
              </p:spPr>
              <p:txBody>
                <a:bodyPr wrap="square" lIns="34289" tIns="34289" rIns="34289" bIns="34289" numCol="1" anchor="t">
                  <a:noAutofit/>
                </a:bodyPr>
                <a:lstStyle/>
                <a:p>
                  <a:pPr algn="ctr" defTabSz="410765" hangingPunct="0">
                    <a:defRPr/>
                  </a:pPr>
                  <a:endParaRPr sz="2400" kern="0">
                    <a:solidFill>
                      <a:srgbClr val="000000"/>
                    </a:solidFill>
                    <a:latin typeface="Helvetica Light"/>
                    <a:sym typeface="Helvetica Light"/>
                  </a:endParaRPr>
                </a:p>
              </p:txBody>
            </p:sp>
            <p:sp>
              <p:nvSpPr>
                <p:cNvPr id="228" name="Shape 228"/>
                <p:cNvSpPr/>
                <p:nvPr/>
              </p:nvSpPr>
              <p:spPr>
                <a:xfrm>
                  <a:off x="0" y="2539234"/>
                  <a:ext cx="4721953" cy="1"/>
                </a:xfrm>
                <a:prstGeom prst="line">
                  <a:avLst/>
                </a:prstGeom>
                <a:noFill/>
                <a:ln w="9525" cap="flat">
                  <a:solidFill>
                    <a:srgbClr val="777776">
                      <a:alpha val="27280"/>
                    </a:srgbClr>
                  </a:solidFill>
                  <a:prstDash val="solid"/>
                  <a:miter lim="400000"/>
                </a:ln>
                <a:effectLst/>
              </p:spPr>
              <p:txBody>
                <a:bodyPr wrap="square" lIns="34289" tIns="34289" rIns="34289" bIns="34289" numCol="1" anchor="t">
                  <a:noAutofit/>
                </a:bodyPr>
                <a:lstStyle/>
                <a:p>
                  <a:pPr algn="ctr" defTabSz="410765" hangingPunct="0">
                    <a:defRPr/>
                  </a:pPr>
                  <a:endParaRPr sz="2400" kern="0">
                    <a:solidFill>
                      <a:srgbClr val="000000"/>
                    </a:solidFill>
                    <a:latin typeface="Helvetica Light"/>
                    <a:sym typeface="Helvetica Light"/>
                  </a:endParaRPr>
                </a:p>
              </p:txBody>
            </p:sp>
            <p:sp>
              <p:nvSpPr>
                <p:cNvPr id="229" name="Shape 229"/>
                <p:cNvSpPr/>
                <p:nvPr/>
              </p:nvSpPr>
              <p:spPr>
                <a:xfrm>
                  <a:off x="0" y="3047081"/>
                  <a:ext cx="4721953" cy="1"/>
                </a:xfrm>
                <a:prstGeom prst="line">
                  <a:avLst/>
                </a:prstGeom>
                <a:noFill/>
                <a:ln w="9525" cap="flat">
                  <a:solidFill>
                    <a:srgbClr val="777776">
                      <a:alpha val="27280"/>
                    </a:srgbClr>
                  </a:solidFill>
                  <a:prstDash val="solid"/>
                  <a:miter lim="400000"/>
                </a:ln>
                <a:effectLst/>
              </p:spPr>
              <p:txBody>
                <a:bodyPr wrap="square" lIns="34289" tIns="34289" rIns="34289" bIns="34289" numCol="1" anchor="t">
                  <a:noAutofit/>
                </a:bodyPr>
                <a:lstStyle/>
                <a:p>
                  <a:pPr algn="ctr" defTabSz="410765" hangingPunct="0">
                    <a:defRPr/>
                  </a:pPr>
                  <a:endParaRPr sz="2400" kern="0">
                    <a:solidFill>
                      <a:srgbClr val="000000"/>
                    </a:solidFill>
                    <a:latin typeface="Helvetica Light"/>
                    <a:sym typeface="Helvetica Light"/>
                  </a:endParaRPr>
                </a:p>
              </p:txBody>
            </p:sp>
            <p:sp>
              <p:nvSpPr>
                <p:cNvPr id="230" name="Shape 230"/>
                <p:cNvSpPr/>
                <p:nvPr/>
              </p:nvSpPr>
              <p:spPr>
                <a:xfrm>
                  <a:off x="0" y="3554927"/>
                  <a:ext cx="4721953" cy="1"/>
                </a:xfrm>
                <a:prstGeom prst="line">
                  <a:avLst/>
                </a:prstGeom>
                <a:noFill/>
                <a:ln w="9525" cap="flat">
                  <a:solidFill>
                    <a:srgbClr val="777776">
                      <a:alpha val="27280"/>
                    </a:srgbClr>
                  </a:solidFill>
                  <a:prstDash val="solid"/>
                  <a:miter lim="400000"/>
                </a:ln>
                <a:effectLst/>
              </p:spPr>
              <p:txBody>
                <a:bodyPr wrap="square" lIns="34289" tIns="34289" rIns="34289" bIns="34289" numCol="1" anchor="t">
                  <a:noAutofit/>
                </a:bodyPr>
                <a:lstStyle/>
                <a:p>
                  <a:pPr algn="ctr" defTabSz="410765" hangingPunct="0">
                    <a:defRPr/>
                  </a:pPr>
                  <a:endParaRPr sz="2400" kern="0">
                    <a:solidFill>
                      <a:srgbClr val="000000"/>
                    </a:solidFill>
                    <a:latin typeface="Helvetica Light"/>
                    <a:sym typeface="Helvetica Light"/>
                  </a:endParaRPr>
                </a:p>
              </p:txBody>
            </p:sp>
            <p:sp>
              <p:nvSpPr>
                <p:cNvPr id="231" name="Shape 231"/>
                <p:cNvSpPr/>
                <p:nvPr/>
              </p:nvSpPr>
              <p:spPr>
                <a:xfrm>
                  <a:off x="0" y="4062775"/>
                  <a:ext cx="4692109" cy="1"/>
                </a:xfrm>
                <a:prstGeom prst="line">
                  <a:avLst/>
                </a:prstGeom>
                <a:noFill/>
                <a:ln w="9525" cap="flat">
                  <a:solidFill>
                    <a:srgbClr val="777776">
                      <a:alpha val="27280"/>
                    </a:srgbClr>
                  </a:solidFill>
                  <a:prstDash val="solid"/>
                  <a:miter lim="400000"/>
                </a:ln>
                <a:effectLst/>
              </p:spPr>
              <p:txBody>
                <a:bodyPr wrap="square" lIns="34289" tIns="34289" rIns="34289" bIns="34289" numCol="1" anchor="t">
                  <a:noAutofit/>
                </a:bodyPr>
                <a:lstStyle/>
                <a:p>
                  <a:pPr algn="ctr" defTabSz="410765" hangingPunct="0">
                    <a:defRPr/>
                  </a:pPr>
                  <a:endParaRPr sz="2400" kern="0">
                    <a:solidFill>
                      <a:srgbClr val="000000"/>
                    </a:solidFill>
                    <a:latin typeface="Helvetica Light"/>
                    <a:sym typeface="Helvetica Light"/>
                  </a:endParaRPr>
                </a:p>
              </p:txBody>
            </p:sp>
          </p:grpSp>
          <p:sp>
            <p:nvSpPr>
              <p:cNvPr id="233" name="Shape 233"/>
              <p:cNvSpPr/>
              <p:nvPr/>
            </p:nvSpPr>
            <p:spPr>
              <a:xfrm>
                <a:off x="0" y="-136346"/>
                <a:ext cx="585175" cy="51526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none" lIns="35719" tIns="35719" rIns="35719" bIns="35719" numCol="1" anchor="ctr">
                <a:spAutoFit/>
              </a:bodyPr>
              <a:lstStyle>
                <a:lvl1pPr algn="l" defTabSz="1219200">
                  <a:lnSpc>
                    <a:spcPct val="150000"/>
                  </a:lnSpc>
                  <a:defRPr sz="1200" spc="-68">
                    <a:solidFill>
                      <a:srgbClr val="9A9A9A"/>
                    </a:solidFill>
                    <a:latin typeface="Univers LT Std 45 Light"/>
                    <a:ea typeface="Univers LT Std 45 Light"/>
                    <a:cs typeface="Univers LT Std 45 Light"/>
                    <a:sym typeface="Univers LT Std 45 Light"/>
                  </a:defRPr>
                </a:lvl1pPr>
              </a:lstStyle>
              <a:p>
                <a:pPr defTabSz="914400" hangingPunct="0">
                  <a:defRPr/>
                </a:pPr>
                <a:r>
                  <a:rPr sz="900" kern="0" spc="-51"/>
                  <a:t>130%</a:t>
                </a:r>
              </a:p>
            </p:txBody>
          </p:sp>
          <p:sp>
            <p:nvSpPr>
              <p:cNvPr id="234" name="Shape 234"/>
              <p:cNvSpPr/>
              <p:nvPr/>
            </p:nvSpPr>
            <p:spPr>
              <a:xfrm>
                <a:off x="0" y="372102"/>
                <a:ext cx="585175" cy="51526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none" lIns="35719" tIns="35719" rIns="35719" bIns="35719" numCol="1" anchor="ctr">
                <a:spAutoFit/>
              </a:bodyPr>
              <a:lstStyle>
                <a:lvl1pPr algn="l" defTabSz="1219200">
                  <a:lnSpc>
                    <a:spcPct val="150000"/>
                  </a:lnSpc>
                  <a:defRPr sz="1200" spc="-68">
                    <a:solidFill>
                      <a:srgbClr val="9A9A9A"/>
                    </a:solidFill>
                    <a:latin typeface="Univers LT Std 45 Light"/>
                    <a:ea typeface="Univers LT Std 45 Light"/>
                    <a:cs typeface="Univers LT Std 45 Light"/>
                    <a:sym typeface="Univers LT Std 45 Light"/>
                  </a:defRPr>
                </a:lvl1pPr>
              </a:lstStyle>
              <a:p>
                <a:pPr defTabSz="914400" hangingPunct="0">
                  <a:defRPr/>
                </a:pPr>
                <a:r>
                  <a:rPr sz="900" kern="0" spc="-51"/>
                  <a:t>120%</a:t>
                </a:r>
              </a:p>
            </p:txBody>
          </p:sp>
          <p:sp>
            <p:nvSpPr>
              <p:cNvPr id="235" name="Shape 235"/>
              <p:cNvSpPr/>
              <p:nvPr/>
            </p:nvSpPr>
            <p:spPr>
              <a:xfrm>
                <a:off x="0" y="880549"/>
                <a:ext cx="585175" cy="51526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none" lIns="35719" tIns="35719" rIns="35719" bIns="35719" numCol="1" anchor="ctr">
                <a:spAutoFit/>
              </a:bodyPr>
              <a:lstStyle>
                <a:lvl1pPr algn="l" defTabSz="1219200">
                  <a:lnSpc>
                    <a:spcPct val="150000"/>
                  </a:lnSpc>
                  <a:defRPr sz="1200" spc="-68">
                    <a:solidFill>
                      <a:srgbClr val="9A9A9A"/>
                    </a:solidFill>
                    <a:latin typeface="Univers LT Std 45 Light"/>
                    <a:ea typeface="Univers LT Std 45 Light"/>
                    <a:cs typeface="Univers LT Std 45 Light"/>
                    <a:sym typeface="Univers LT Std 45 Light"/>
                  </a:defRPr>
                </a:lvl1pPr>
              </a:lstStyle>
              <a:p>
                <a:pPr defTabSz="914400" hangingPunct="0">
                  <a:defRPr/>
                </a:pPr>
                <a:r>
                  <a:rPr sz="900" kern="0" spc="-51"/>
                  <a:t>110%</a:t>
                </a:r>
              </a:p>
            </p:txBody>
          </p:sp>
          <p:sp>
            <p:nvSpPr>
              <p:cNvPr id="236" name="Shape 236"/>
              <p:cNvSpPr/>
              <p:nvPr/>
            </p:nvSpPr>
            <p:spPr>
              <a:xfrm>
                <a:off x="0" y="1388997"/>
                <a:ext cx="585175" cy="51526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none" lIns="35719" tIns="35719" rIns="35719" bIns="35719" numCol="1" anchor="ctr">
                <a:spAutoFit/>
              </a:bodyPr>
              <a:lstStyle>
                <a:lvl1pPr algn="l" defTabSz="1219200">
                  <a:lnSpc>
                    <a:spcPct val="150000"/>
                  </a:lnSpc>
                  <a:defRPr sz="1200" spc="-68">
                    <a:solidFill>
                      <a:srgbClr val="9A9A9A"/>
                    </a:solidFill>
                    <a:latin typeface="Univers LT Std 45 Light"/>
                    <a:ea typeface="Univers LT Std 45 Light"/>
                    <a:cs typeface="Univers LT Std 45 Light"/>
                    <a:sym typeface="Univers LT Std 45 Light"/>
                  </a:defRPr>
                </a:lvl1pPr>
              </a:lstStyle>
              <a:p>
                <a:pPr defTabSz="914400" hangingPunct="0">
                  <a:defRPr/>
                </a:pPr>
                <a:r>
                  <a:rPr sz="900" kern="0" spc="-51"/>
                  <a:t>100%</a:t>
                </a:r>
              </a:p>
            </p:txBody>
          </p:sp>
          <p:sp>
            <p:nvSpPr>
              <p:cNvPr id="237" name="Shape 237"/>
              <p:cNvSpPr/>
              <p:nvPr/>
            </p:nvSpPr>
            <p:spPr>
              <a:xfrm>
                <a:off x="0" y="1897444"/>
                <a:ext cx="486343" cy="51526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none" lIns="35719" tIns="35719" rIns="35719" bIns="35719" numCol="1" anchor="ctr">
                <a:spAutoFit/>
              </a:bodyPr>
              <a:lstStyle>
                <a:lvl1pPr algn="l" defTabSz="1219200">
                  <a:lnSpc>
                    <a:spcPct val="150000"/>
                  </a:lnSpc>
                  <a:defRPr sz="1200" spc="-68">
                    <a:solidFill>
                      <a:srgbClr val="9A9A9A"/>
                    </a:solidFill>
                    <a:latin typeface="Univers LT Std 45 Light"/>
                    <a:ea typeface="Univers LT Std 45 Light"/>
                    <a:cs typeface="Univers LT Std 45 Light"/>
                    <a:sym typeface="Univers LT Std 45 Light"/>
                  </a:defRPr>
                </a:lvl1pPr>
              </a:lstStyle>
              <a:p>
                <a:pPr defTabSz="914400" hangingPunct="0">
                  <a:defRPr/>
                </a:pPr>
                <a:r>
                  <a:rPr sz="900" kern="0" spc="-51"/>
                  <a:t>90%</a:t>
                </a:r>
              </a:p>
            </p:txBody>
          </p:sp>
          <p:sp>
            <p:nvSpPr>
              <p:cNvPr id="238" name="Shape 238"/>
              <p:cNvSpPr/>
              <p:nvPr/>
            </p:nvSpPr>
            <p:spPr>
              <a:xfrm>
                <a:off x="0" y="2405893"/>
                <a:ext cx="486343" cy="51526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none" lIns="35719" tIns="35719" rIns="35719" bIns="35719" numCol="1" anchor="ctr">
                <a:spAutoFit/>
              </a:bodyPr>
              <a:lstStyle>
                <a:lvl1pPr algn="l" defTabSz="1219200">
                  <a:lnSpc>
                    <a:spcPct val="150000"/>
                  </a:lnSpc>
                  <a:defRPr sz="1200" spc="-68">
                    <a:solidFill>
                      <a:srgbClr val="9A9A9A"/>
                    </a:solidFill>
                    <a:latin typeface="Univers LT Std 45 Light"/>
                    <a:ea typeface="Univers LT Std 45 Light"/>
                    <a:cs typeface="Univers LT Std 45 Light"/>
                    <a:sym typeface="Univers LT Std 45 Light"/>
                  </a:defRPr>
                </a:lvl1pPr>
              </a:lstStyle>
              <a:p>
                <a:pPr defTabSz="914400" hangingPunct="0">
                  <a:defRPr/>
                </a:pPr>
                <a:r>
                  <a:rPr sz="900" kern="0" spc="-51"/>
                  <a:t>80%</a:t>
                </a:r>
              </a:p>
            </p:txBody>
          </p:sp>
          <p:sp>
            <p:nvSpPr>
              <p:cNvPr id="239" name="Shape 239"/>
              <p:cNvSpPr/>
              <p:nvPr/>
            </p:nvSpPr>
            <p:spPr>
              <a:xfrm>
                <a:off x="0" y="2914341"/>
                <a:ext cx="486343" cy="51526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none" lIns="35719" tIns="35719" rIns="35719" bIns="35719" numCol="1" anchor="ctr">
                <a:spAutoFit/>
              </a:bodyPr>
              <a:lstStyle>
                <a:lvl1pPr algn="l" defTabSz="1219200">
                  <a:lnSpc>
                    <a:spcPct val="150000"/>
                  </a:lnSpc>
                  <a:defRPr sz="1200" spc="-68">
                    <a:solidFill>
                      <a:srgbClr val="9A9A9A"/>
                    </a:solidFill>
                    <a:latin typeface="Univers LT Std 45 Light"/>
                    <a:ea typeface="Univers LT Std 45 Light"/>
                    <a:cs typeface="Univers LT Std 45 Light"/>
                    <a:sym typeface="Univers LT Std 45 Light"/>
                  </a:defRPr>
                </a:lvl1pPr>
              </a:lstStyle>
              <a:p>
                <a:pPr defTabSz="914400" hangingPunct="0">
                  <a:defRPr/>
                </a:pPr>
                <a:r>
                  <a:rPr sz="900" kern="0" spc="-51"/>
                  <a:t>70%</a:t>
                </a:r>
              </a:p>
            </p:txBody>
          </p:sp>
          <p:sp>
            <p:nvSpPr>
              <p:cNvPr id="240" name="Shape 240"/>
              <p:cNvSpPr/>
              <p:nvPr/>
            </p:nvSpPr>
            <p:spPr>
              <a:xfrm>
                <a:off x="0" y="3422788"/>
                <a:ext cx="486343" cy="51526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none" lIns="35719" tIns="35719" rIns="35719" bIns="35719" numCol="1" anchor="ctr">
                <a:spAutoFit/>
              </a:bodyPr>
              <a:lstStyle>
                <a:lvl1pPr algn="l" defTabSz="1219200">
                  <a:lnSpc>
                    <a:spcPct val="150000"/>
                  </a:lnSpc>
                  <a:defRPr sz="1200" spc="-68">
                    <a:solidFill>
                      <a:srgbClr val="9A9A9A"/>
                    </a:solidFill>
                    <a:latin typeface="Univers LT Std 45 Light"/>
                    <a:ea typeface="Univers LT Std 45 Light"/>
                    <a:cs typeface="Univers LT Std 45 Light"/>
                    <a:sym typeface="Univers LT Std 45 Light"/>
                  </a:defRPr>
                </a:lvl1pPr>
              </a:lstStyle>
              <a:p>
                <a:pPr defTabSz="914400" hangingPunct="0">
                  <a:defRPr/>
                </a:pPr>
                <a:r>
                  <a:rPr sz="900" kern="0" spc="-51"/>
                  <a:t>60%</a:t>
                </a:r>
              </a:p>
            </p:txBody>
          </p:sp>
          <p:sp>
            <p:nvSpPr>
              <p:cNvPr id="241" name="Shape 241"/>
              <p:cNvSpPr/>
              <p:nvPr/>
            </p:nvSpPr>
            <p:spPr>
              <a:xfrm>
                <a:off x="0" y="3931234"/>
                <a:ext cx="486343" cy="51526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none" lIns="35719" tIns="35719" rIns="35719" bIns="35719" numCol="1" anchor="ctr">
                <a:spAutoFit/>
              </a:bodyPr>
              <a:lstStyle>
                <a:lvl1pPr algn="l" defTabSz="1219200">
                  <a:lnSpc>
                    <a:spcPct val="150000"/>
                  </a:lnSpc>
                  <a:defRPr sz="1200" spc="-68">
                    <a:solidFill>
                      <a:srgbClr val="9A9A9A"/>
                    </a:solidFill>
                    <a:latin typeface="Univers LT Std 45 Light"/>
                    <a:ea typeface="Univers LT Std 45 Light"/>
                    <a:cs typeface="Univers LT Std 45 Light"/>
                    <a:sym typeface="Univers LT Std 45 Light"/>
                  </a:defRPr>
                </a:lvl1pPr>
              </a:lstStyle>
              <a:p>
                <a:pPr defTabSz="914400" hangingPunct="0">
                  <a:defRPr/>
                </a:pPr>
                <a:r>
                  <a:rPr sz="900" kern="0" spc="-51"/>
                  <a:t>50%</a:t>
                </a:r>
              </a:p>
            </p:txBody>
          </p:sp>
          <p:sp>
            <p:nvSpPr>
              <p:cNvPr id="242" name="Shape 242"/>
              <p:cNvSpPr/>
              <p:nvPr/>
            </p:nvSpPr>
            <p:spPr>
              <a:xfrm>
                <a:off x="580330" y="317243"/>
                <a:ext cx="4003018" cy="137271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21600"/>
                    </a:moveTo>
                    <a:lnTo>
                      <a:pt x="1307" y="20053"/>
                    </a:lnTo>
                    <a:lnTo>
                      <a:pt x="2013" y="17371"/>
                    </a:lnTo>
                    <a:lnTo>
                      <a:pt x="3929" y="17197"/>
                    </a:lnTo>
                    <a:lnTo>
                      <a:pt x="5698" y="12347"/>
                    </a:lnTo>
                    <a:lnTo>
                      <a:pt x="6369" y="12731"/>
                    </a:lnTo>
                    <a:cubicBezTo>
                      <a:pt x="6920" y="10713"/>
                      <a:pt x="7471" y="8695"/>
                      <a:pt x="8022" y="6676"/>
                    </a:cubicBezTo>
                    <a:cubicBezTo>
                      <a:pt x="8397" y="7225"/>
                      <a:pt x="8772" y="7773"/>
                      <a:pt x="9148" y="8322"/>
                    </a:cubicBezTo>
                    <a:lnTo>
                      <a:pt x="10949" y="4408"/>
                    </a:lnTo>
                    <a:lnTo>
                      <a:pt x="12332" y="3209"/>
                    </a:lnTo>
                    <a:lnTo>
                      <a:pt x="12825" y="1422"/>
                    </a:lnTo>
                    <a:lnTo>
                      <a:pt x="13879" y="2361"/>
                    </a:lnTo>
                    <a:lnTo>
                      <a:pt x="15212" y="0"/>
                    </a:lnTo>
                    <a:lnTo>
                      <a:pt x="17292" y="5488"/>
                    </a:lnTo>
                    <a:lnTo>
                      <a:pt x="18568" y="5344"/>
                    </a:lnTo>
                    <a:lnTo>
                      <a:pt x="20141" y="11300"/>
                    </a:lnTo>
                    <a:lnTo>
                      <a:pt x="21600" y="10245"/>
                    </a:lnTo>
                  </a:path>
                </a:pathLst>
              </a:custGeom>
              <a:noFill/>
              <a:ln w="25400" cap="flat">
                <a:solidFill>
                  <a:srgbClr val="E22002"/>
                </a:solidFill>
                <a:prstDash val="solid"/>
                <a:round/>
              </a:ln>
              <a:effectLst/>
            </p:spPr>
            <p:txBody>
              <a:bodyPr wrap="square" lIns="34289" tIns="34289" rIns="34289" bIns="34289" numCol="1" anchor="t">
                <a:noAutofit/>
              </a:bodyPr>
              <a:lstStyle/>
              <a:p>
                <a:pPr algn="ctr" defTabSz="410765" hangingPunct="0">
                  <a:defRPr>
                    <a:solidFill>
                      <a:srgbClr val="E22002"/>
                    </a:solidFill>
                  </a:defRPr>
                </a:pPr>
                <a:endParaRPr sz="2400" kern="0">
                  <a:solidFill>
                    <a:srgbClr val="E22002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243" name="Shape 243"/>
              <p:cNvSpPr/>
              <p:nvPr/>
            </p:nvSpPr>
            <p:spPr>
              <a:xfrm>
                <a:off x="588089" y="1232654"/>
                <a:ext cx="4004073" cy="184785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5585"/>
                    </a:moveTo>
                    <a:lnTo>
                      <a:pt x="842" y="0"/>
                    </a:lnTo>
                    <a:lnTo>
                      <a:pt x="1471" y="3183"/>
                    </a:lnTo>
                    <a:lnTo>
                      <a:pt x="2101" y="3633"/>
                    </a:lnTo>
                    <a:lnTo>
                      <a:pt x="2669" y="2065"/>
                    </a:lnTo>
                    <a:lnTo>
                      <a:pt x="3806" y="7108"/>
                    </a:lnTo>
                    <a:lnTo>
                      <a:pt x="4594" y="6184"/>
                    </a:lnTo>
                    <a:lnTo>
                      <a:pt x="5381" y="436"/>
                    </a:lnTo>
                    <a:lnTo>
                      <a:pt x="6424" y="5281"/>
                    </a:lnTo>
                    <a:lnTo>
                      <a:pt x="8450" y="7309"/>
                    </a:lnTo>
                    <a:lnTo>
                      <a:pt x="8966" y="9461"/>
                    </a:lnTo>
                    <a:lnTo>
                      <a:pt x="9915" y="4873"/>
                    </a:lnTo>
                    <a:lnTo>
                      <a:pt x="10817" y="7549"/>
                    </a:lnTo>
                    <a:lnTo>
                      <a:pt x="11844" y="5397"/>
                    </a:lnTo>
                    <a:lnTo>
                      <a:pt x="12574" y="7145"/>
                    </a:lnTo>
                    <a:lnTo>
                      <a:pt x="14079" y="7454"/>
                    </a:lnTo>
                    <a:cubicBezTo>
                      <a:pt x="14481" y="9824"/>
                      <a:pt x="14883" y="12194"/>
                      <a:pt x="15286" y="14564"/>
                    </a:cubicBezTo>
                    <a:cubicBezTo>
                      <a:pt x="15656" y="13170"/>
                      <a:pt x="16026" y="11777"/>
                      <a:pt x="16396" y="10384"/>
                    </a:cubicBezTo>
                    <a:lnTo>
                      <a:pt x="16947" y="12498"/>
                    </a:lnTo>
                    <a:lnTo>
                      <a:pt x="17928" y="7446"/>
                    </a:lnTo>
                    <a:lnTo>
                      <a:pt x="18860" y="17104"/>
                    </a:lnTo>
                    <a:lnTo>
                      <a:pt x="19651" y="14504"/>
                    </a:lnTo>
                    <a:lnTo>
                      <a:pt x="20409" y="13280"/>
                    </a:lnTo>
                    <a:lnTo>
                      <a:pt x="21063" y="15809"/>
                    </a:lnTo>
                    <a:lnTo>
                      <a:pt x="21600" y="21600"/>
                    </a:lnTo>
                  </a:path>
                </a:pathLst>
              </a:custGeom>
              <a:noFill/>
              <a:ln w="25400" cap="flat">
                <a:solidFill>
                  <a:srgbClr val="1268F7"/>
                </a:solidFill>
                <a:prstDash val="solid"/>
                <a:round/>
              </a:ln>
              <a:effectLst/>
            </p:spPr>
            <p:txBody>
              <a:bodyPr wrap="square" lIns="34289" tIns="34289" rIns="34289" bIns="34289" numCol="1" anchor="t">
                <a:noAutofit/>
              </a:bodyPr>
              <a:lstStyle/>
              <a:p>
                <a:pPr algn="ctr" defTabSz="410765" hangingPunct="0">
                  <a:defRPr>
                    <a:solidFill>
                      <a:srgbClr val="E22002"/>
                    </a:solidFill>
                  </a:defRPr>
                </a:pPr>
                <a:endParaRPr sz="2400" kern="0">
                  <a:solidFill>
                    <a:srgbClr val="E22002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244" name="Shape 244"/>
              <p:cNvSpPr/>
              <p:nvPr/>
            </p:nvSpPr>
            <p:spPr>
              <a:xfrm>
                <a:off x="599731" y="1508416"/>
                <a:ext cx="3994344" cy="221790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1663"/>
                    </a:moveTo>
                    <a:lnTo>
                      <a:pt x="1240" y="245"/>
                    </a:lnTo>
                    <a:lnTo>
                      <a:pt x="3615" y="686"/>
                    </a:lnTo>
                    <a:lnTo>
                      <a:pt x="4748" y="0"/>
                    </a:lnTo>
                    <a:lnTo>
                      <a:pt x="6165" y="792"/>
                    </a:lnTo>
                    <a:lnTo>
                      <a:pt x="7222" y="1142"/>
                    </a:lnTo>
                    <a:lnTo>
                      <a:pt x="8028" y="2277"/>
                    </a:lnTo>
                    <a:lnTo>
                      <a:pt x="8918" y="2541"/>
                    </a:lnTo>
                    <a:lnTo>
                      <a:pt x="9745" y="3780"/>
                    </a:lnTo>
                    <a:lnTo>
                      <a:pt x="10841" y="4318"/>
                    </a:lnTo>
                    <a:lnTo>
                      <a:pt x="11954" y="6286"/>
                    </a:lnTo>
                    <a:lnTo>
                      <a:pt x="12732" y="8100"/>
                    </a:lnTo>
                    <a:lnTo>
                      <a:pt x="15565" y="12002"/>
                    </a:lnTo>
                    <a:lnTo>
                      <a:pt x="17806" y="16543"/>
                    </a:lnTo>
                    <a:lnTo>
                      <a:pt x="18875" y="17838"/>
                    </a:lnTo>
                    <a:lnTo>
                      <a:pt x="19825" y="18865"/>
                    </a:lnTo>
                    <a:lnTo>
                      <a:pt x="20737" y="20580"/>
                    </a:lnTo>
                    <a:lnTo>
                      <a:pt x="21600" y="21600"/>
                    </a:lnTo>
                  </a:path>
                </a:pathLst>
              </a:custGeom>
              <a:noFill/>
              <a:ln w="25400" cap="flat">
                <a:solidFill>
                  <a:srgbClr val="F8A526"/>
                </a:solidFill>
                <a:prstDash val="solid"/>
                <a:round/>
              </a:ln>
              <a:effectLst/>
            </p:spPr>
            <p:txBody>
              <a:bodyPr wrap="square" lIns="34289" tIns="34289" rIns="34289" bIns="34289" numCol="1" anchor="t">
                <a:noAutofit/>
              </a:bodyPr>
              <a:lstStyle/>
              <a:p>
                <a:pPr algn="ctr" defTabSz="410765" hangingPunct="0">
                  <a:defRPr>
                    <a:solidFill>
                      <a:srgbClr val="E22002"/>
                    </a:solidFill>
                  </a:defRPr>
                </a:pPr>
                <a:endParaRPr sz="2400" kern="0">
                  <a:solidFill>
                    <a:srgbClr val="E22002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245" name="Shape 245"/>
              <p:cNvSpPr/>
              <p:nvPr/>
            </p:nvSpPr>
            <p:spPr>
              <a:xfrm>
                <a:off x="622650" y="1707614"/>
                <a:ext cx="4017609" cy="126159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865" y="1661"/>
                    </a:lnTo>
                    <a:lnTo>
                      <a:pt x="1748" y="3352"/>
                    </a:lnTo>
                    <a:lnTo>
                      <a:pt x="2553" y="7593"/>
                    </a:lnTo>
                    <a:lnTo>
                      <a:pt x="3325" y="6252"/>
                    </a:lnTo>
                    <a:lnTo>
                      <a:pt x="4236" y="6705"/>
                    </a:lnTo>
                    <a:lnTo>
                      <a:pt x="5272" y="4295"/>
                    </a:lnTo>
                    <a:lnTo>
                      <a:pt x="5962" y="7593"/>
                    </a:lnTo>
                    <a:lnTo>
                      <a:pt x="6999" y="5894"/>
                    </a:lnTo>
                    <a:lnTo>
                      <a:pt x="7973" y="9299"/>
                    </a:lnTo>
                    <a:lnTo>
                      <a:pt x="9558" y="4787"/>
                    </a:lnTo>
                    <a:lnTo>
                      <a:pt x="10749" y="4088"/>
                    </a:lnTo>
                    <a:lnTo>
                      <a:pt x="11555" y="1471"/>
                    </a:lnTo>
                    <a:lnTo>
                      <a:pt x="12546" y="2975"/>
                    </a:lnTo>
                    <a:lnTo>
                      <a:pt x="14213" y="1722"/>
                    </a:lnTo>
                    <a:lnTo>
                      <a:pt x="14976" y="734"/>
                    </a:lnTo>
                    <a:lnTo>
                      <a:pt x="15839" y="4636"/>
                    </a:lnTo>
                    <a:lnTo>
                      <a:pt x="16800" y="12514"/>
                    </a:lnTo>
                    <a:lnTo>
                      <a:pt x="17849" y="10015"/>
                    </a:lnTo>
                    <a:lnTo>
                      <a:pt x="18209" y="11771"/>
                    </a:lnTo>
                    <a:lnTo>
                      <a:pt x="19547" y="11872"/>
                    </a:lnTo>
                    <a:lnTo>
                      <a:pt x="20349" y="15043"/>
                    </a:lnTo>
                    <a:lnTo>
                      <a:pt x="20772" y="18026"/>
                    </a:lnTo>
                    <a:lnTo>
                      <a:pt x="21600" y="21600"/>
                    </a:lnTo>
                  </a:path>
                </a:pathLst>
              </a:custGeom>
              <a:noFill/>
              <a:ln w="25400" cap="flat">
                <a:solidFill>
                  <a:srgbClr val="F1D32B"/>
                </a:solidFill>
                <a:prstDash val="solid"/>
                <a:round/>
              </a:ln>
              <a:effectLst/>
            </p:spPr>
            <p:txBody>
              <a:bodyPr wrap="square" lIns="34289" tIns="34289" rIns="34289" bIns="34289" numCol="1" anchor="t">
                <a:noAutofit/>
              </a:bodyPr>
              <a:lstStyle/>
              <a:p>
                <a:pPr algn="ctr" defTabSz="410765" hangingPunct="0">
                  <a:defRPr>
                    <a:solidFill>
                      <a:srgbClr val="E22002"/>
                    </a:solidFill>
                  </a:defRPr>
                </a:pPr>
                <a:endParaRPr sz="2400" kern="0">
                  <a:solidFill>
                    <a:srgbClr val="E22002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246" name="Shape 246"/>
              <p:cNvSpPr/>
              <p:nvPr/>
            </p:nvSpPr>
            <p:spPr>
              <a:xfrm>
                <a:off x="613456" y="1699379"/>
                <a:ext cx="3978491" cy="1119773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1995" y="9564"/>
                    </a:lnTo>
                    <a:lnTo>
                      <a:pt x="3495" y="12021"/>
                    </a:lnTo>
                    <a:lnTo>
                      <a:pt x="4814" y="11000"/>
                    </a:lnTo>
                    <a:lnTo>
                      <a:pt x="6582" y="11851"/>
                    </a:lnTo>
                    <a:lnTo>
                      <a:pt x="8270" y="13198"/>
                    </a:lnTo>
                    <a:lnTo>
                      <a:pt x="11588" y="17664"/>
                    </a:lnTo>
                    <a:lnTo>
                      <a:pt x="12795" y="17380"/>
                    </a:lnTo>
                    <a:lnTo>
                      <a:pt x="13574" y="19472"/>
                    </a:lnTo>
                    <a:lnTo>
                      <a:pt x="15848" y="18635"/>
                    </a:lnTo>
                    <a:lnTo>
                      <a:pt x="17399" y="20656"/>
                    </a:lnTo>
                    <a:lnTo>
                      <a:pt x="18956" y="20486"/>
                    </a:lnTo>
                    <a:lnTo>
                      <a:pt x="19822" y="21600"/>
                    </a:lnTo>
                    <a:lnTo>
                      <a:pt x="21600" y="19069"/>
                    </a:lnTo>
                  </a:path>
                </a:pathLst>
              </a:custGeom>
              <a:noFill/>
              <a:ln w="25400" cap="flat">
                <a:solidFill>
                  <a:srgbClr val="19B976"/>
                </a:solidFill>
                <a:prstDash val="solid"/>
                <a:round/>
              </a:ln>
              <a:effectLst/>
            </p:spPr>
            <p:txBody>
              <a:bodyPr wrap="square" lIns="34289" tIns="34289" rIns="34289" bIns="34289" numCol="1" anchor="t">
                <a:noAutofit/>
              </a:bodyPr>
              <a:lstStyle/>
              <a:p>
                <a:pPr algn="ctr" defTabSz="410765" hangingPunct="0">
                  <a:defRPr>
                    <a:solidFill>
                      <a:srgbClr val="E22002"/>
                    </a:solidFill>
                  </a:defRPr>
                </a:pPr>
                <a:endParaRPr sz="2400" kern="0">
                  <a:solidFill>
                    <a:srgbClr val="E22002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247" name="Shape 247"/>
              <p:cNvSpPr/>
              <p:nvPr/>
            </p:nvSpPr>
            <p:spPr>
              <a:xfrm>
                <a:off x="593480" y="1699148"/>
                <a:ext cx="3998982" cy="215154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1653" y="5489"/>
                    </a:lnTo>
                    <a:lnTo>
                      <a:pt x="2597" y="7552"/>
                    </a:lnTo>
                    <a:lnTo>
                      <a:pt x="3558" y="7467"/>
                    </a:lnTo>
                    <a:lnTo>
                      <a:pt x="4471" y="6080"/>
                    </a:lnTo>
                    <a:lnTo>
                      <a:pt x="5019" y="7109"/>
                    </a:lnTo>
                    <a:lnTo>
                      <a:pt x="6266" y="7286"/>
                    </a:lnTo>
                    <a:lnTo>
                      <a:pt x="7934" y="10702"/>
                    </a:lnTo>
                    <a:lnTo>
                      <a:pt x="8932" y="10024"/>
                    </a:lnTo>
                    <a:lnTo>
                      <a:pt x="10782" y="12883"/>
                    </a:lnTo>
                    <a:lnTo>
                      <a:pt x="11668" y="11625"/>
                    </a:lnTo>
                    <a:lnTo>
                      <a:pt x="14319" y="13112"/>
                    </a:lnTo>
                    <a:lnTo>
                      <a:pt x="14822" y="12846"/>
                    </a:lnTo>
                    <a:lnTo>
                      <a:pt x="16253" y="14079"/>
                    </a:lnTo>
                    <a:lnTo>
                      <a:pt x="17007" y="20736"/>
                    </a:lnTo>
                    <a:lnTo>
                      <a:pt x="18115" y="18327"/>
                    </a:lnTo>
                    <a:lnTo>
                      <a:pt x="19600" y="20574"/>
                    </a:lnTo>
                    <a:lnTo>
                      <a:pt x="21600" y="21600"/>
                    </a:lnTo>
                  </a:path>
                </a:pathLst>
              </a:custGeom>
              <a:noFill/>
              <a:ln w="25400" cap="flat">
                <a:solidFill>
                  <a:srgbClr val="01824F"/>
                </a:solidFill>
                <a:prstDash val="solid"/>
                <a:round/>
              </a:ln>
              <a:effectLst/>
            </p:spPr>
            <p:txBody>
              <a:bodyPr wrap="square" lIns="34289" tIns="34289" rIns="34289" bIns="34289" numCol="1" anchor="t">
                <a:noAutofit/>
              </a:bodyPr>
              <a:lstStyle/>
              <a:p>
                <a:pPr algn="ctr" defTabSz="410765" hangingPunct="0">
                  <a:defRPr>
                    <a:solidFill>
                      <a:srgbClr val="E22002"/>
                    </a:solidFill>
                  </a:defRPr>
                </a:pPr>
                <a:endParaRPr sz="2400" kern="0">
                  <a:solidFill>
                    <a:srgbClr val="E22002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248" name="Shape 248"/>
              <p:cNvSpPr/>
              <p:nvPr/>
            </p:nvSpPr>
            <p:spPr>
              <a:xfrm>
                <a:off x="383334" y="4173804"/>
                <a:ext cx="519141" cy="51526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none" lIns="35719" tIns="35719" rIns="35719" bIns="35719" numCol="1" anchor="ctr">
                <a:spAutoFit/>
              </a:bodyPr>
              <a:lstStyle>
                <a:lvl1pPr algn="l" defTabSz="1219200">
                  <a:lnSpc>
                    <a:spcPct val="150000"/>
                  </a:lnSpc>
                  <a:defRPr sz="1200" spc="-68">
                    <a:solidFill>
                      <a:srgbClr val="9A9A9A"/>
                    </a:solidFill>
                    <a:latin typeface="Univers LT Std 45 Light"/>
                    <a:ea typeface="Univers LT Std 45 Light"/>
                    <a:cs typeface="Univers LT Std 45 Light"/>
                    <a:sym typeface="Univers LT Std 45 Light"/>
                  </a:defRPr>
                </a:lvl1pPr>
              </a:lstStyle>
              <a:p>
                <a:pPr defTabSz="914400" hangingPunct="0">
                  <a:defRPr/>
                </a:pPr>
                <a:r>
                  <a:rPr sz="900" kern="0" spc="-51"/>
                  <a:t>1990</a:t>
                </a:r>
              </a:p>
            </p:txBody>
          </p:sp>
          <p:sp>
            <p:nvSpPr>
              <p:cNvPr id="249" name="Shape 249"/>
              <p:cNvSpPr/>
              <p:nvPr/>
            </p:nvSpPr>
            <p:spPr>
              <a:xfrm>
                <a:off x="1223191" y="4173804"/>
                <a:ext cx="519141" cy="51526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none" lIns="35719" tIns="35719" rIns="35719" bIns="35719" numCol="1" anchor="ctr">
                <a:spAutoFit/>
              </a:bodyPr>
              <a:lstStyle>
                <a:lvl1pPr algn="l" defTabSz="1219200">
                  <a:lnSpc>
                    <a:spcPct val="150000"/>
                  </a:lnSpc>
                  <a:defRPr sz="1200" spc="-68">
                    <a:solidFill>
                      <a:srgbClr val="9A9A9A"/>
                    </a:solidFill>
                    <a:latin typeface="Univers LT Std 45 Light"/>
                    <a:ea typeface="Univers LT Std 45 Light"/>
                    <a:cs typeface="Univers LT Std 45 Light"/>
                    <a:sym typeface="Univers LT Std 45 Light"/>
                  </a:defRPr>
                </a:lvl1pPr>
              </a:lstStyle>
              <a:p>
                <a:pPr defTabSz="914400" hangingPunct="0">
                  <a:defRPr/>
                </a:pPr>
                <a:r>
                  <a:rPr sz="900" kern="0" spc="-51"/>
                  <a:t>1995</a:t>
                </a:r>
              </a:p>
            </p:txBody>
          </p:sp>
          <p:sp>
            <p:nvSpPr>
              <p:cNvPr id="250" name="Shape 250"/>
              <p:cNvSpPr/>
              <p:nvPr/>
            </p:nvSpPr>
            <p:spPr>
              <a:xfrm>
                <a:off x="2056193" y="4173804"/>
                <a:ext cx="519141" cy="51526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none" lIns="35719" tIns="35719" rIns="35719" bIns="35719" numCol="1" anchor="ctr">
                <a:spAutoFit/>
              </a:bodyPr>
              <a:lstStyle>
                <a:lvl1pPr algn="l" defTabSz="1219200">
                  <a:lnSpc>
                    <a:spcPct val="150000"/>
                  </a:lnSpc>
                  <a:defRPr sz="1200" spc="-68">
                    <a:solidFill>
                      <a:srgbClr val="9A9A9A"/>
                    </a:solidFill>
                    <a:latin typeface="Univers LT Std 45 Light"/>
                    <a:ea typeface="Univers LT Std 45 Light"/>
                    <a:cs typeface="Univers LT Std 45 Light"/>
                    <a:sym typeface="Univers LT Std 45 Light"/>
                  </a:defRPr>
                </a:lvl1pPr>
              </a:lstStyle>
              <a:p>
                <a:pPr defTabSz="914400" hangingPunct="0">
                  <a:defRPr/>
                </a:pPr>
                <a:r>
                  <a:rPr sz="900" kern="0" spc="-51"/>
                  <a:t>2000</a:t>
                </a:r>
              </a:p>
            </p:txBody>
          </p:sp>
          <p:sp>
            <p:nvSpPr>
              <p:cNvPr id="251" name="Shape 251"/>
              <p:cNvSpPr/>
              <p:nvPr/>
            </p:nvSpPr>
            <p:spPr>
              <a:xfrm>
                <a:off x="2897577" y="4173804"/>
                <a:ext cx="519141" cy="51526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none" lIns="35719" tIns="35719" rIns="35719" bIns="35719" numCol="1" anchor="ctr">
                <a:spAutoFit/>
              </a:bodyPr>
              <a:lstStyle>
                <a:lvl1pPr algn="l" defTabSz="1219200">
                  <a:lnSpc>
                    <a:spcPct val="150000"/>
                  </a:lnSpc>
                  <a:defRPr sz="1200" spc="-68">
                    <a:solidFill>
                      <a:srgbClr val="9A9A9A"/>
                    </a:solidFill>
                    <a:latin typeface="Univers LT Std 45 Light"/>
                    <a:ea typeface="Univers LT Std 45 Light"/>
                    <a:cs typeface="Univers LT Std 45 Light"/>
                    <a:sym typeface="Univers LT Std 45 Light"/>
                  </a:defRPr>
                </a:lvl1pPr>
              </a:lstStyle>
              <a:p>
                <a:pPr defTabSz="914400" hangingPunct="0">
                  <a:defRPr/>
                </a:pPr>
                <a:r>
                  <a:rPr sz="900" kern="0" spc="-51"/>
                  <a:t>2005</a:t>
                </a:r>
              </a:p>
            </p:txBody>
          </p:sp>
          <p:sp>
            <p:nvSpPr>
              <p:cNvPr id="252" name="Shape 252"/>
              <p:cNvSpPr/>
              <p:nvPr/>
            </p:nvSpPr>
            <p:spPr>
              <a:xfrm>
                <a:off x="3750390" y="4173804"/>
                <a:ext cx="519141" cy="51526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none" lIns="35719" tIns="35719" rIns="35719" bIns="35719" numCol="1" anchor="ctr">
                <a:spAutoFit/>
              </a:bodyPr>
              <a:lstStyle>
                <a:lvl1pPr algn="l" defTabSz="1219200">
                  <a:lnSpc>
                    <a:spcPct val="150000"/>
                  </a:lnSpc>
                  <a:defRPr sz="1200" spc="-68">
                    <a:solidFill>
                      <a:srgbClr val="9A9A9A"/>
                    </a:solidFill>
                    <a:latin typeface="Univers LT Std 45 Light"/>
                    <a:ea typeface="Univers LT Std 45 Light"/>
                    <a:cs typeface="Univers LT Std 45 Light"/>
                    <a:sym typeface="Univers LT Std 45 Light"/>
                  </a:defRPr>
                </a:lvl1pPr>
              </a:lstStyle>
              <a:p>
                <a:pPr defTabSz="914400" hangingPunct="0">
                  <a:defRPr/>
                </a:pPr>
                <a:r>
                  <a:rPr sz="900" kern="0" spc="-51"/>
                  <a:t>2010</a:t>
                </a:r>
              </a:p>
            </p:txBody>
          </p:sp>
          <p:sp>
            <p:nvSpPr>
              <p:cNvPr id="253" name="Shape 253"/>
              <p:cNvSpPr/>
              <p:nvPr/>
            </p:nvSpPr>
            <p:spPr>
              <a:xfrm>
                <a:off x="4588344" y="4173804"/>
                <a:ext cx="519141" cy="51526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none" lIns="35719" tIns="35719" rIns="35719" bIns="35719" numCol="1" anchor="ctr">
                <a:spAutoFit/>
              </a:bodyPr>
              <a:lstStyle>
                <a:lvl1pPr algn="l" defTabSz="1219200">
                  <a:lnSpc>
                    <a:spcPct val="150000"/>
                  </a:lnSpc>
                  <a:defRPr sz="1200" spc="-68">
                    <a:solidFill>
                      <a:srgbClr val="9A9A9A"/>
                    </a:solidFill>
                    <a:latin typeface="Univers LT Std 45 Light"/>
                    <a:ea typeface="Univers LT Std 45 Light"/>
                    <a:cs typeface="Univers LT Std 45 Light"/>
                    <a:sym typeface="Univers LT Std 45 Light"/>
                  </a:defRPr>
                </a:lvl1pPr>
              </a:lstStyle>
              <a:p>
                <a:pPr defTabSz="914400" hangingPunct="0">
                  <a:defRPr/>
                </a:pPr>
                <a:r>
                  <a:rPr sz="900" kern="0" spc="-51"/>
                  <a:t>2015</a:t>
                </a:r>
              </a:p>
            </p:txBody>
          </p:sp>
        </p:grpSp>
        <p:grpSp>
          <p:nvGrpSpPr>
            <p:cNvPr id="267" name="Group 267"/>
            <p:cNvGrpSpPr/>
            <p:nvPr/>
          </p:nvGrpSpPr>
          <p:grpSpPr>
            <a:xfrm>
              <a:off x="679659" y="7542233"/>
              <a:ext cx="6622996" cy="868693"/>
              <a:chOff x="0" y="0"/>
              <a:chExt cx="6622994" cy="868691"/>
            </a:xfrm>
          </p:grpSpPr>
          <p:sp>
            <p:nvSpPr>
              <p:cNvPr id="255" name="Shape 255"/>
              <p:cNvSpPr/>
              <p:nvPr/>
            </p:nvSpPr>
            <p:spPr>
              <a:xfrm>
                <a:off x="0" y="121918"/>
                <a:ext cx="427894" cy="1"/>
              </a:xfrm>
              <a:prstGeom prst="line">
                <a:avLst/>
              </a:prstGeom>
              <a:noFill/>
              <a:ln w="25400" cap="flat">
                <a:solidFill>
                  <a:srgbClr val="E22002"/>
                </a:solidFill>
                <a:prstDash val="solid"/>
                <a:round/>
              </a:ln>
              <a:effectLst/>
            </p:spPr>
            <p:txBody>
              <a:bodyPr wrap="square" lIns="34289" tIns="34289" rIns="34289" bIns="34289" numCol="1" anchor="t">
                <a:noAutofit/>
              </a:bodyPr>
              <a:lstStyle/>
              <a:p>
                <a:pPr algn="ctr" defTabSz="410765" hangingPunct="0">
                  <a:defRPr>
                    <a:solidFill>
                      <a:srgbClr val="E22002"/>
                    </a:solidFill>
                  </a:defRPr>
                </a:pPr>
                <a:endParaRPr sz="2400" kern="0">
                  <a:solidFill>
                    <a:srgbClr val="E22002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256" name="Shape 256"/>
              <p:cNvSpPr/>
              <p:nvPr/>
            </p:nvSpPr>
            <p:spPr>
              <a:xfrm>
                <a:off x="0" y="343788"/>
                <a:ext cx="427894" cy="1"/>
              </a:xfrm>
              <a:prstGeom prst="line">
                <a:avLst/>
              </a:prstGeom>
              <a:noFill/>
              <a:ln w="25400" cap="flat">
                <a:solidFill>
                  <a:srgbClr val="1268F7"/>
                </a:solidFill>
                <a:prstDash val="solid"/>
                <a:round/>
              </a:ln>
              <a:effectLst/>
            </p:spPr>
            <p:txBody>
              <a:bodyPr wrap="square" lIns="34289" tIns="34289" rIns="34289" bIns="34289" numCol="1" anchor="t">
                <a:noAutofit/>
              </a:bodyPr>
              <a:lstStyle/>
              <a:p>
                <a:pPr algn="ctr" defTabSz="410765" hangingPunct="0">
                  <a:defRPr>
                    <a:solidFill>
                      <a:srgbClr val="E22002"/>
                    </a:solidFill>
                  </a:defRPr>
                </a:pPr>
                <a:endParaRPr sz="2400" kern="0">
                  <a:solidFill>
                    <a:srgbClr val="E22002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257" name="Shape 257"/>
              <p:cNvSpPr/>
              <p:nvPr/>
            </p:nvSpPr>
            <p:spPr>
              <a:xfrm>
                <a:off x="0" y="565657"/>
                <a:ext cx="427894" cy="1"/>
              </a:xfrm>
              <a:prstGeom prst="line">
                <a:avLst/>
              </a:prstGeom>
              <a:noFill/>
              <a:ln w="25400" cap="flat">
                <a:solidFill>
                  <a:srgbClr val="F8A526"/>
                </a:solidFill>
                <a:prstDash val="solid"/>
                <a:round/>
              </a:ln>
              <a:effectLst/>
            </p:spPr>
            <p:txBody>
              <a:bodyPr wrap="square" lIns="34289" tIns="34289" rIns="34289" bIns="34289" numCol="1" anchor="t">
                <a:noAutofit/>
              </a:bodyPr>
              <a:lstStyle/>
              <a:p>
                <a:pPr algn="ctr" defTabSz="410765" hangingPunct="0">
                  <a:defRPr>
                    <a:solidFill>
                      <a:srgbClr val="E22002"/>
                    </a:solidFill>
                  </a:defRPr>
                </a:pPr>
                <a:endParaRPr sz="2400" kern="0">
                  <a:solidFill>
                    <a:srgbClr val="E22002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258" name="Shape 258"/>
              <p:cNvSpPr/>
              <p:nvPr/>
            </p:nvSpPr>
            <p:spPr>
              <a:xfrm>
                <a:off x="2368466" y="121918"/>
                <a:ext cx="427894" cy="1"/>
              </a:xfrm>
              <a:prstGeom prst="line">
                <a:avLst/>
              </a:prstGeom>
              <a:noFill/>
              <a:ln w="25400" cap="flat">
                <a:solidFill>
                  <a:srgbClr val="F1D32B"/>
                </a:solidFill>
                <a:prstDash val="solid"/>
                <a:round/>
              </a:ln>
              <a:effectLst/>
            </p:spPr>
            <p:txBody>
              <a:bodyPr wrap="square" lIns="34289" tIns="34289" rIns="34289" bIns="34289" numCol="1" anchor="t">
                <a:noAutofit/>
              </a:bodyPr>
              <a:lstStyle/>
              <a:p>
                <a:pPr algn="ctr" defTabSz="410765" hangingPunct="0">
                  <a:defRPr>
                    <a:solidFill>
                      <a:srgbClr val="E22002"/>
                    </a:solidFill>
                  </a:defRPr>
                </a:pPr>
                <a:endParaRPr sz="2400" kern="0">
                  <a:solidFill>
                    <a:srgbClr val="E22002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259" name="Shape 259"/>
              <p:cNvSpPr/>
              <p:nvPr/>
            </p:nvSpPr>
            <p:spPr>
              <a:xfrm>
                <a:off x="2368466" y="343788"/>
                <a:ext cx="427894" cy="1"/>
              </a:xfrm>
              <a:prstGeom prst="line">
                <a:avLst/>
              </a:prstGeom>
              <a:noFill/>
              <a:ln w="25400" cap="flat">
                <a:solidFill>
                  <a:srgbClr val="19B976"/>
                </a:solidFill>
                <a:prstDash val="solid"/>
                <a:round/>
              </a:ln>
              <a:effectLst/>
            </p:spPr>
            <p:txBody>
              <a:bodyPr wrap="square" lIns="34289" tIns="34289" rIns="34289" bIns="34289" numCol="1" anchor="t">
                <a:noAutofit/>
              </a:bodyPr>
              <a:lstStyle/>
              <a:p>
                <a:pPr algn="ctr" defTabSz="410765" hangingPunct="0">
                  <a:defRPr>
                    <a:solidFill>
                      <a:srgbClr val="E22002"/>
                    </a:solidFill>
                  </a:defRPr>
                </a:pPr>
                <a:endParaRPr sz="2400" kern="0">
                  <a:solidFill>
                    <a:srgbClr val="E22002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260" name="Shape 260"/>
              <p:cNvSpPr/>
              <p:nvPr/>
            </p:nvSpPr>
            <p:spPr>
              <a:xfrm>
                <a:off x="2368466" y="565657"/>
                <a:ext cx="427894" cy="1"/>
              </a:xfrm>
              <a:prstGeom prst="line">
                <a:avLst/>
              </a:prstGeom>
              <a:noFill/>
              <a:ln w="25400" cap="flat">
                <a:solidFill>
                  <a:srgbClr val="01824F"/>
                </a:solidFill>
                <a:prstDash val="solid"/>
                <a:round/>
              </a:ln>
              <a:effectLst/>
            </p:spPr>
            <p:txBody>
              <a:bodyPr wrap="square" lIns="34289" tIns="34289" rIns="34289" bIns="34289" numCol="1" anchor="t">
                <a:noAutofit/>
              </a:bodyPr>
              <a:lstStyle/>
              <a:p>
                <a:pPr algn="ctr" defTabSz="410765" hangingPunct="0">
                  <a:defRPr>
                    <a:solidFill>
                      <a:srgbClr val="E22002"/>
                    </a:solidFill>
                  </a:defRPr>
                </a:pPr>
                <a:endParaRPr sz="2400" kern="0">
                  <a:solidFill>
                    <a:srgbClr val="E22002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261" name="Shape 261"/>
              <p:cNvSpPr/>
              <p:nvPr/>
            </p:nvSpPr>
            <p:spPr>
              <a:xfrm>
                <a:off x="489704" y="0"/>
                <a:ext cx="988089" cy="42495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none" lIns="45719" tIns="45719" rIns="45719" bIns="45719" numCol="1" anchor="t">
                <a:spAutoFit/>
              </a:bodyPr>
              <a:lstStyle>
                <a:lvl1pPr algn="l" defTabSz="1625600">
                  <a:spcBef>
                    <a:spcPts val="2000"/>
                  </a:spcBef>
                  <a:buClr>
                    <a:srgbClr val="5A866F"/>
                  </a:buClr>
                  <a:defRPr sz="1200" spc="-12">
                    <a:solidFill>
                      <a:srgbClr val="343A41"/>
                    </a:solidFill>
                    <a:latin typeface="Univers LT Std 45 Light"/>
                    <a:ea typeface="Univers LT Std 45 Light"/>
                    <a:cs typeface="Univers LT Std 45 Light"/>
                    <a:sym typeface="Univers LT Std 45 Light"/>
                  </a:defRPr>
                </a:lvl1pPr>
              </a:lstStyle>
              <a:p>
                <a:pPr defTabSz="1219200" hangingPunct="0">
                  <a:spcBef>
                    <a:spcPts val="1500"/>
                  </a:spcBef>
                  <a:defRPr/>
                </a:pPr>
                <a:r>
                  <a:rPr sz="900" kern="0" spc="-9" dirty="0"/>
                  <a:t>Transport</a:t>
                </a:r>
              </a:p>
            </p:txBody>
          </p:sp>
          <p:sp>
            <p:nvSpPr>
              <p:cNvPr id="262" name="Shape 262"/>
              <p:cNvSpPr/>
              <p:nvPr/>
            </p:nvSpPr>
            <p:spPr>
              <a:xfrm>
                <a:off x="489704" y="209169"/>
                <a:ext cx="1116196" cy="42495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none" lIns="45719" tIns="45719" rIns="45719" bIns="45719" numCol="1" anchor="t">
                <a:spAutoFit/>
              </a:bodyPr>
              <a:lstStyle>
                <a:lvl1pPr algn="l" defTabSz="1625600">
                  <a:spcBef>
                    <a:spcPts val="2000"/>
                  </a:spcBef>
                  <a:buClr>
                    <a:srgbClr val="5A866F"/>
                  </a:buClr>
                  <a:defRPr sz="1200" spc="-12">
                    <a:solidFill>
                      <a:srgbClr val="343A41"/>
                    </a:solidFill>
                    <a:latin typeface="Univers LT Std 45 Light"/>
                    <a:ea typeface="Univers LT Std 45 Light"/>
                    <a:cs typeface="Univers LT Std 45 Light"/>
                    <a:sym typeface="Univers LT Std 45 Light"/>
                  </a:defRPr>
                </a:lvl1pPr>
              </a:lstStyle>
              <a:p>
                <a:pPr defTabSz="1219200" hangingPunct="0">
                  <a:spcBef>
                    <a:spcPts val="1500"/>
                  </a:spcBef>
                  <a:defRPr/>
                </a:pPr>
                <a:r>
                  <a:rPr sz="900" kern="0" spc="-9" dirty="0"/>
                  <a:t>Residential</a:t>
                </a:r>
              </a:p>
            </p:txBody>
          </p:sp>
          <p:sp>
            <p:nvSpPr>
              <p:cNvPr id="263" name="Shape 263"/>
              <p:cNvSpPr/>
              <p:nvPr/>
            </p:nvSpPr>
            <p:spPr>
              <a:xfrm>
                <a:off x="489704" y="443740"/>
                <a:ext cx="1722612" cy="424951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none" lIns="45719" tIns="45719" rIns="45719" bIns="45719" numCol="1" anchor="t">
                <a:spAutoFit/>
              </a:bodyPr>
              <a:lstStyle>
                <a:lvl1pPr algn="l" defTabSz="1625600">
                  <a:spcBef>
                    <a:spcPts val="2000"/>
                  </a:spcBef>
                  <a:buClr>
                    <a:srgbClr val="5A866F"/>
                  </a:buClr>
                  <a:defRPr sz="1200" spc="-12">
                    <a:solidFill>
                      <a:srgbClr val="343A41"/>
                    </a:solidFill>
                    <a:latin typeface="Univers LT Std 45 Light"/>
                    <a:ea typeface="Univers LT Std 45 Light"/>
                    <a:cs typeface="Univers LT Std 45 Light"/>
                    <a:sym typeface="Univers LT Std 45 Light"/>
                  </a:defRPr>
                </a:lvl1pPr>
              </a:lstStyle>
              <a:p>
                <a:pPr defTabSz="1219200" hangingPunct="0">
                  <a:spcBef>
                    <a:spcPts val="1500"/>
                  </a:spcBef>
                  <a:defRPr/>
                </a:pPr>
                <a:r>
                  <a:rPr sz="900" kern="0" spc="-9"/>
                  <a:t>Waste and Others</a:t>
                </a:r>
              </a:p>
            </p:txBody>
          </p:sp>
          <p:sp>
            <p:nvSpPr>
              <p:cNvPr id="264" name="Shape 264"/>
              <p:cNvSpPr/>
              <p:nvPr/>
            </p:nvSpPr>
            <p:spPr>
              <a:xfrm>
                <a:off x="2825804" y="0"/>
                <a:ext cx="1665603" cy="42495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none" lIns="45719" tIns="45719" rIns="45719" bIns="45719" numCol="1" anchor="t">
                <a:spAutoFit/>
              </a:bodyPr>
              <a:lstStyle>
                <a:lvl1pPr algn="l" defTabSz="1625600">
                  <a:spcBef>
                    <a:spcPts val="2000"/>
                  </a:spcBef>
                  <a:buClr>
                    <a:srgbClr val="5A866F"/>
                  </a:buClr>
                  <a:defRPr sz="1200" spc="-12">
                    <a:solidFill>
                      <a:srgbClr val="343A41"/>
                    </a:solidFill>
                    <a:latin typeface="Univers LT Std 45 Light"/>
                    <a:ea typeface="Univers LT Std 45 Light"/>
                    <a:cs typeface="Univers LT Std 45 Light"/>
                    <a:sym typeface="Univers LT Std 45 Light"/>
                  </a:defRPr>
                </a:lvl1pPr>
              </a:lstStyle>
              <a:p>
                <a:pPr defTabSz="1219200" hangingPunct="0">
                  <a:spcBef>
                    <a:spcPts val="1500"/>
                  </a:spcBef>
                  <a:defRPr/>
                </a:pPr>
                <a:r>
                  <a:rPr sz="900" kern="0" spc="-9"/>
                  <a:t>Energy Industries</a:t>
                </a:r>
              </a:p>
            </p:txBody>
          </p:sp>
          <p:sp>
            <p:nvSpPr>
              <p:cNvPr id="265" name="Shape 265"/>
              <p:cNvSpPr/>
              <p:nvPr/>
            </p:nvSpPr>
            <p:spPr>
              <a:xfrm>
                <a:off x="2825804" y="209169"/>
                <a:ext cx="1083179" cy="42495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none" lIns="45719" tIns="45719" rIns="45719" bIns="45719" numCol="1" anchor="t">
                <a:spAutoFit/>
              </a:bodyPr>
              <a:lstStyle>
                <a:lvl1pPr algn="l" defTabSz="1625600">
                  <a:spcBef>
                    <a:spcPts val="2000"/>
                  </a:spcBef>
                  <a:buClr>
                    <a:srgbClr val="5A866F"/>
                  </a:buClr>
                  <a:defRPr sz="1200" spc="-12">
                    <a:solidFill>
                      <a:srgbClr val="343A41"/>
                    </a:solidFill>
                    <a:latin typeface="Univers LT Std 45 Light"/>
                    <a:ea typeface="Univers LT Std 45 Light"/>
                    <a:cs typeface="Univers LT Std 45 Light"/>
                    <a:sym typeface="Univers LT Std 45 Light"/>
                  </a:defRPr>
                </a:lvl1pPr>
              </a:lstStyle>
              <a:p>
                <a:pPr defTabSz="1219200" hangingPunct="0">
                  <a:spcBef>
                    <a:spcPts val="1500"/>
                  </a:spcBef>
                  <a:defRPr/>
                </a:pPr>
                <a:r>
                  <a:rPr sz="900" kern="0" spc="-9" dirty="0"/>
                  <a:t>Agriculture</a:t>
                </a:r>
              </a:p>
            </p:txBody>
          </p:sp>
          <p:sp>
            <p:nvSpPr>
              <p:cNvPr id="266" name="Shape 266"/>
              <p:cNvSpPr/>
              <p:nvPr/>
            </p:nvSpPr>
            <p:spPr>
              <a:xfrm>
                <a:off x="2825804" y="443737"/>
                <a:ext cx="3797190" cy="424950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none" lIns="45719" tIns="45719" rIns="45719" bIns="45719" numCol="1" anchor="t">
                <a:spAutoFit/>
              </a:bodyPr>
              <a:lstStyle>
                <a:lvl1pPr algn="l" defTabSz="1625600">
                  <a:spcBef>
                    <a:spcPts val="2000"/>
                  </a:spcBef>
                  <a:buClr>
                    <a:srgbClr val="5A866F"/>
                  </a:buClr>
                  <a:defRPr sz="1200" spc="-12">
                    <a:solidFill>
                      <a:srgbClr val="343A41"/>
                    </a:solidFill>
                    <a:latin typeface="Univers LT Std 45 Light"/>
                    <a:ea typeface="Univers LT Std 45 Light"/>
                    <a:cs typeface="Univers LT Std 45 Light"/>
                    <a:sym typeface="Univers LT Std 45 Light"/>
                  </a:defRPr>
                </a:lvl1pPr>
              </a:lstStyle>
              <a:p>
                <a:pPr defTabSz="1219200" hangingPunct="0">
                  <a:spcBef>
                    <a:spcPts val="1500"/>
                  </a:spcBef>
                  <a:defRPr/>
                </a:pPr>
                <a:r>
                  <a:rPr sz="900" kern="0" spc="-9" dirty="0"/>
                  <a:t>Manufacturing Industries and Construction</a:t>
                </a:r>
              </a:p>
            </p:txBody>
          </p:sp>
        </p:grpSp>
        <p:grpSp>
          <p:nvGrpSpPr>
            <p:cNvPr id="3" name="Agrupar 2"/>
            <p:cNvGrpSpPr/>
            <p:nvPr/>
          </p:nvGrpSpPr>
          <p:grpSpPr>
            <a:xfrm>
              <a:off x="6113721" y="2865439"/>
              <a:ext cx="5791201" cy="4940744"/>
              <a:chOff x="6113721" y="2825465"/>
              <a:chExt cx="5791201" cy="4940744"/>
            </a:xfrm>
          </p:grpSpPr>
          <p:pic>
            <p:nvPicPr>
              <p:cNvPr id="204" name="pasted-image.tiff"/>
              <p:cNvPicPr>
                <a:picLocks noChangeAspect="1"/>
              </p:cNvPicPr>
              <p:nvPr/>
            </p:nvPicPr>
            <p:blipFill>
              <a:blip r:embed="rId4">
                <a:extLst/>
              </a:blip>
              <a:stretch>
                <a:fillRect/>
              </a:stretch>
            </p:blipFill>
            <p:spPr>
              <a:xfrm>
                <a:off x="6113721" y="4070508"/>
                <a:ext cx="5791201" cy="3695701"/>
              </a:xfrm>
              <a:prstGeom prst="rect">
                <a:avLst/>
              </a:prstGeom>
              <a:ln w="12700">
                <a:miter lim="400000"/>
              </a:ln>
            </p:spPr>
          </p:pic>
          <p:grpSp>
            <p:nvGrpSpPr>
              <p:cNvPr id="2" name="Agrupar 1"/>
              <p:cNvGrpSpPr/>
              <p:nvPr/>
            </p:nvGrpSpPr>
            <p:grpSpPr>
              <a:xfrm>
                <a:off x="6871235" y="2825465"/>
                <a:ext cx="3929681" cy="4024357"/>
                <a:chOff x="6871235" y="2825465"/>
                <a:chExt cx="3929681" cy="4024357"/>
              </a:xfrm>
            </p:grpSpPr>
            <p:sp>
              <p:nvSpPr>
                <p:cNvPr id="268" name="Shape 268"/>
                <p:cNvSpPr/>
                <p:nvPr/>
              </p:nvSpPr>
              <p:spPr>
                <a:xfrm>
                  <a:off x="10212107" y="3877412"/>
                  <a:ext cx="588809" cy="430268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="" xmlns:ma14="http://schemas.microsoft.com/office/mac/drawingml/2011/main" val="1"/>
                  </a:ext>
                </a:extLst>
              </p:spPr>
              <p:txBody>
                <a:bodyPr wrap="none" lIns="35719" tIns="35719" rIns="35719" bIns="35719" anchor="ctr">
                  <a:spAutoFit/>
                </a:bodyPr>
                <a:lstStyle>
                  <a:lvl1pPr algn="l" defTabSz="1219200">
                    <a:spcBef>
                      <a:spcPts val="1600"/>
                    </a:spcBef>
                    <a:defRPr sz="3000">
                      <a:solidFill>
                        <a:srgbClr val="1269F7"/>
                      </a:solidFill>
                      <a:latin typeface="Univers LT Std 45 Light"/>
                      <a:ea typeface="Univers LT Std 45 Light"/>
                      <a:cs typeface="Univers LT Std 45 Light"/>
                      <a:sym typeface="Univers LT Std 45 Light"/>
                    </a:defRPr>
                  </a:lvl1pPr>
                </a:lstStyle>
                <a:p>
                  <a:pPr defTabSz="914400" hangingPunct="0">
                    <a:spcBef>
                      <a:spcPts val="1200"/>
                    </a:spcBef>
                    <a:defRPr/>
                  </a:pPr>
                  <a:r>
                    <a:rPr sz="1050" kern="0" dirty="0"/>
                    <a:t>26%</a:t>
                  </a:r>
                </a:p>
              </p:txBody>
            </p:sp>
            <p:sp>
              <p:nvSpPr>
                <p:cNvPr id="269" name="Shape 269"/>
                <p:cNvSpPr/>
                <p:nvPr/>
              </p:nvSpPr>
              <p:spPr>
                <a:xfrm>
                  <a:off x="9200534" y="3325125"/>
                  <a:ext cx="696676" cy="519431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="" xmlns:ma14="http://schemas.microsoft.com/office/mac/drawingml/2011/main" val="1"/>
                  </a:ext>
                </a:extLst>
              </p:spPr>
              <p:txBody>
                <a:bodyPr lIns="35719" tIns="35719" rIns="35719" bIns="35719" anchor="ctr"/>
                <a:lstStyle>
                  <a:lvl1pPr algn="l" defTabSz="1219200">
                    <a:spcBef>
                      <a:spcPts val="1600"/>
                    </a:spcBef>
                    <a:defRPr sz="3000">
                      <a:solidFill>
                        <a:srgbClr val="77DAFF"/>
                      </a:solidFill>
                      <a:latin typeface="Univers LT Std 45 Light"/>
                      <a:ea typeface="Univers LT Std 45 Light"/>
                      <a:cs typeface="Univers LT Std 45 Light"/>
                      <a:sym typeface="Univers LT Std 45 Light"/>
                    </a:defRPr>
                  </a:lvl1pPr>
                </a:lstStyle>
                <a:p>
                  <a:pPr defTabSz="914400" hangingPunct="0">
                    <a:spcBef>
                      <a:spcPts val="1200"/>
                    </a:spcBef>
                    <a:defRPr/>
                  </a:pPr>
                  <a:r>
                    <a:rPr sz="1050" kern="0" dirty="0"/>
                    <a:t>2%</a:t>
                  </a:r>
                </a:p>
              </p:txBody>
            </p:sp>
            <p:sp>
              <p:nvSpPr>
                <p:cNvPr id="270" name="Shape 270"/>
                <p:cNvSpPr/>
                <p:nvPr/>
              </p:nvSpPr>
              <p:spPr>
                <a:xfrm>
                  <a:off x="8758950" y="2825465"/>
                  <a:ext cx="696676" cy="519431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="" xmlns:ma14="http://schemas.microsoft.com/office/mac/drawingml/2011/main" val="1"/>
                  </a:ext>
                </a:extLst>
              </p:spPr>
              <p:txBody>
                <a:bodyPr lIns="35719" tIns="35719" rIns="35719" bIns="35719" anchor="ctr"/>
                <a:lstStyle>
                  <a:lvl1pPr algn="l" defTabSz="1219200">
                    <a:spcBef>
                      <a:spcPts val="1600"/>
                    </a:spcBef>
                    <a:defRPr sz="3000">
                      <a:solidFill>
                        <a:srgbClr val="42CAF8"/>
                      </a:solidFill>
                      <a:latin typeface="Univers LT Std 45 Light"/>
                      <a:ea typeface="Univers LT Std 45 Light"/>
                      <a:cs typeface="Univers LT Std 45 Light"/>
                      <a:sym typeface="Univers LT Std 45 Light"/>
                    </a:defRPr>
                  </a:lvl1pPr>
                </a:lstStyle>
                <a:p>
                  <a:pPr defTabSz="914400" hangingPunct="0">
                    <a:spcBef>
                      <a:spcPts val="1200"/>
                    </a:spcBef>
                    <a:defRPr/>
                  </a:pPr>
                  <a:r>
                    <a:rPr sz="1050" kern="0" dirty="0"/>
                    <a:t>5%</a:t>
                  </a:r>
                </a:p>
              </p:txBody>
            </p:sp>
            <p:sp>
              <p:nvSpPr>
                <p:cNvPr id="271" name="Shape 271"/>
                <p:cNvSpPr/>
                <p:nvPr/>
              </p:nvSpPr>
              <p:spPr>
                <a:xfrm>
                  <a:off x="7391479" y="2825465"/>
                  <a:ext cx="788208" cy="476251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="" xmlns:ma14="http://schemas.microsoft.com/office/mac/drawingml/2011/main" val="1"/>
                  </a:ext>
                </a:extLst>
              </p:spPr>
              <p:txBody>
                <a:bodyPr lIns="35719" tIns="35719" rIns="35719" bIns="35719" anchor="ctr"/>
                <a:lstStyle>
                  <a:lvl1pPr algn="r" defTabSz="1219200">
                    <a:spcBef>
                      <a:spcPts val="1600"/>
                    </a:spcBef>
                    <a:defRPr sz="3000">
                      <a:solidFill>
                        <a:srgbClr val="30B1E7"/>
                      </a:solidFill>
                      <a:latin typeface="Univers LT Std 45 Light"/>
                      <a:ea typeface="Univers LT Std 45 Light"/>
                      <a:cs typeface="Univers LT Std 45 Light"/>
                      <a:sym typeface="Univers LT Std 45 Light"/>
                    </a:defRPr>
                  </a:lvl1pPr>
                </a:lstStyle>
                <a:p>
                  <a:pPr defTabSz="914400" hangingPunct="0">
                    <a:spcBef>
                      <a:spcPts val="1200"/>
                    </a:spcBef>
                    <a:defRPr/>
                  </a:pPr>
                  <a:r>
                    <a:rPr sz="1050" kern="0" dirty="0"/>
                    <a:t>2%</a:t>
                  </a:r>
                </a:p>
              </p:txBody>
            </p:sp>
            <p:sp>
              <p:nvSpPr>
                <p:cNvPr id="272" name="Shape 272"/>
                <p:cNvSpPr/>
                <p:nvPr/>
              </p:nvSpPr>
              <p:spPr>
                <a:xfrm>
                  <a:off x="7179527" y="3325125"/>
                  <a:ext cx="788208" cy="519431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="" xmlns:ma14="http://schemas.microsoft.com/office/mac/drawingml/2011/main" val="1"/>
                  </a:ext>
                </a:extLst>
              </p:spPr>
              <p:txBody>
                <a:bodyPr lIns="35719" tIns="35719" rIns="35719" bIns="35719" anchor="ctr"/>
                <a:lstStyle>
                  <a:lvl1pPr algn="r" defTabSz="1219200">
                    <a:spcBef>
                      <a:spcPts val="1600"/>
                    </a:spcBef>
                    <a:defRPr sz="3000">
                      <a:solidFill>
                        <a:srgbClr val="042072"/>
                      </a:solidFill>
                      <a:latin typeface="Univers LT Std 45 Light"/>
                      <a:ea typeface="Univers LT Std 45 Light"/>
                      <a:cs typeface="Univers LT Std 45 Light"/>
                      <a:sym typeface="Univers LT Std 45 Light"/>
                    </a:defRPr>
                  </a:lvl1pPr>
                </a:lstStyle>
                <a:p>
                  <a:pPr defTabSz="914400" hangingPunct="0">
                    <a:spcBef>
                      <a:spcPts val="1200"/>
                    </a:spcBef>
                    <a:defRPr/>
                  </a:pPr>
                  <a:r>
                    <a:rPr sz="1050" kern="0" dirty="0"/>
                    <a:t>1%</a:t>
                  </a:r>
                </a:p>
              </p:txBody>
            </p:sp>
            <p:sp>
              <p:nvSpPr>
                <p:cNvPr id="273" name="Shape 273"/>
                <p:cNvSpPr/>
                <p:nvPr/>
              </p:nvSpPr>
              <p:spPr>
                <a:xfrm flipH="1">
                  <a:off x="7939909" y="3709618"/>
                  <a:ext cx="297764" cy="59719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0"/>
                      </a:moveTo>
                      <a:lnTo>
                        <a:pt x="0" y="0"/>
                      </a:lnTo>
                      <a:lnTo>
                        <a:pt x="0" y="21600"/>
                      </a:lnTo>
                    </a:path>
                  </a:pathLst>
                </a:custGeom>
                <a:ln>
                  <a:solidFill>
                    <a:srgbClr val="042072"/>
                  </a:solidFill>
                  <a:miter lim="400000"/>
                </a:ln>
              </p:spPr>
              <p:txBody>
                <a:bodyPr lIns="35719" tIns="35719" rIns="35719" bIns="35719" anchor="ctr"/>
                <a:lstStyle/>
                <a:p>
                  <a:pPr algn="ctr" defTabSz="410765" hangingPunct="0">
                    <a:defRPr sz="2200"/>
                  </a:pPr>
                  <a:endParaRPr sz="1650" kern="0">
                    <a:solidFill>
                      <a:srgbClr val="000000"/>
                    </a:solidFill>
                    <a:latin typeface="Helvetica Light"/>
                    <a:sym typeface="Helvetica Light"/>
                  </a:endParaRPr>
                </a:p>
              </p:txBody>
            </p:sp>
            <p:sp>
              <p:nvSpPr>
                <p:cNvPr id="274" name="Shape 274"/>
                <p:cNvSpPr/>
                <p:nvPr/>
              </p:nvSpPr>
              <p:spPr>
                <a:xfrm flipH="1">
                  <a:off x="8902479" y="3678844"/>
                  <a:ext cx="298054" cy="411516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0" y="2"/>
                      </a:moveTo>
                      <a:lnTo>
                        <a:pt x="21600" y="0"/>
                      </a:lnTo>
                      <a:lnTo>
                        <a:pt x="21600" y="21600"/>
                      </a:lnTo>
                    </a:path>
                  </a:pathLst>
                </a:custGeom>
                <a:ln>
                  <a:solidFill>
                    <a:srgbClr val="77DAFF"/>
                  </a:solidFill>
                  <a:miter lim="400000"/>
                </a:ln>
              </p:spPr>
              <p:txBody>
                <a:bodyPr lIns="35719" tIns="35719" rIns="35719" bIns="35719" anchor="ctr"/>
                <a:lstStyle/>
                <a:p>
                  <a:pPr algn="ctr" defTabSz="410765" hangingPunct="0">
                    <a:defRPr sz="2200">
                      <a:solidFill>
                        <a:srgbClr val="3793BA"/>
                      </a:solidFill>
                    </a:defRPr>
                  </a:pPr>
                  <a:endParaRPr sz="1650" kern="0">
                    <a:solidFill>
                      <a:srgbClr val="3793BA"/>
                    </a:solidFill>
                    <a:latin typeface="Helvetica Light"/>
                    <a:sym typeface="Helvetica Light"/>
                  </a:endParaRPr>
                </a:p>
              </p:txBody>
            </p:sp>
            <p:sp>
              <p:nvSpPr>
                <p:cNvPr id="275" name="Shape 275"/>
                <p:cNvSpPr/>
                <p:nvPr/>
              </p:nvSpPr>
              <p:spPr>
                <a:xfrm flipH="1">
                  <a:off x="8131376" y="3173152"/>
                  <a:ext cx="245482" cy="103905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0"/>
                      </a:moveTo>
                      <a:lnTo>
                        <a:pt x="0" y="0"/>
                      </a:lnTo>
                      <a:lnTo>
                        <a:pt x="0" y="21600"/>
                      </a:lnTo>
                    </a:path>
                  </a:pathLst>
                </a:custGeom>
                <a:ln>
                  <a:solidFill>
                    <a:srgbClr val="2DACE1"/>
                  </a:solidFill>
                  <a:miter lim="400000"/>
                </a:ln>
              </p:spPr>
              <p:txBody>
                <a:bodyPr lIns="35719" tIns="35719" rIns="35719" bIns="35719" anchor="ctr"/>
                <a:lstStyle/>
                <a:p>
                  <a:pPr hangingPunct="0">
                    <a:spcBef>
                      <a:spcPts val="1200"/>
                    </a:spcBef>
                    <a:defRPr sz="2400">
                      <a:solidFill>
                        <a:srgbClr val="0A38B3"/>
                      </a:solidFill>
                      <a:latin typeface="Univers LT Std 45 Light"/>
                      <a:ea typeface="Univers LT Std 45 Light"/>
                      <a:cs typeface="Univers LT Std 45 Light"/>
                      <a:sym typeface="Univers LT Std 45 Light"/>
                    </a:defRPr>
                  </a:pPr>
                  <a:endParaRPr kern="0">
                    <a:solidFill>
                      <a:srgbClr val="0A38B3"/>
                    </a:solidFill>
                    <a:latin typeface="Univers LT Std 45 Light"/>
                    <a:sym typeface="Univers LT Std 45 Light"/>
                  </a:endParaRPr>
                </a:p>
              </p:txBody>
            </p:sp>
            <p:sp>
              <p:nvSpPr>
                <p:cNvPr id="276" name="Shape 276"/>
                <p:cNvSpPr/>
                <p:nvPr/>
              </p:nvSpPr>
              <p:spPr>
                <a:xfrm>
                  <a:off x="8588719" y="3173152"/>
                  <a:ext cx="170232" cy="94758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0"/>
                      </a:moveTo>
                      <a:lnTo>
                        <a:pt x="0" y="0"/>
                      </a:lnTo>
                      <a:lnTo>
                        <a:pt x="0" y="21600"/>
                      </a:lnTo>
                    </a:path>
                  </a:pathLst>
                </a:custGeom>
                <a:ln>
                  <a:solidFill>
                    <a:srgbClr val="42CAF8"/>
                  </a:solidFill>
                  <a:miter lim="400000"/>
                </a:ln>
              </p:spPr>
              <p:txBody>
                <a:bodyPr lIns="35719" tIns="35719" rIns="35719" bIns="35719" anchor="ctr"/>
                <a:lstStyle/>
                <a:p>
                  <a:pPr algn="ctr" defTabSz="410765" hangingPunct="0">
                    <a:defRPr sz="2200">
                      <a:solidFill>
                        <a:srgbClr val="8EE1FE"/>
                      </a:solidFill>
                    </a:defRPr>
                  </a:pPr>
                  <a:endParaRPr sz="1650" kern="0">
                    <a:solidFill>
                      <a:srgbClr val="8EE1FE"/>
                    </a:solidFill>
                    <a:latin typeface="Helvetica Light"/>
                    <a:sym typeface="Helvetica Light"/>
                  </a:endParaRPr>
                </a:p>
              </p:txBody>
            </p:sp>
            <p:graphicFrame>
              <p:nvGraphicFramePr>
                <p:cNvPr id="277" name="Chart 277"/>
                <p:cNvGraphicFramePr/>
                <p:nvPr>
                  <p:extLst/>
                </p:nvPr>
              </p:nvGraphicFramePr>
              <p:xfrm>
                <a:off x="7594243" y="4019664"/>
                <a:ext cx="2830158" cy="2830158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5"/>
                </a:graphicData>
              </a:graphic>
            </p:graphicFrame>
            <p:sp>
              <p:nvSpPr>
                <p:cNvPr id="278" name="Shape 278"/>
                <p:cNvSpPr/>
                <p:nvPr/>
              </p:nvSpPr>
              <p:spPr>
                <a:xfrm>
                  <a:off x="8176254" y="4592909"/>
                  <a:ext cx="1666138" cy="1666137"/>
                </a:xfrm>
                <a:prstGeom prst="ellipse">
                  <a:avLst/>
                </a:prstGeom>
                <a:solidFill>
                  <a:srgbClr val="F2F0F4"/>
                </a:solidFill>
                <a:ln w="3175">
                  <a:miter lim="400000"/>
                </a:ln>
              </p:spPr>
              <p:txBody>
                <a:bodyPr lIns="35719" tIns="35719" rIns="35719" bIns="35719" anchor="ctr"/>
                <a:lstStyle/>
                <a:p>
                  <a:pPr algn="ctr" defTabSz="410765" hangingPunct="0">
                    <a:defRPr sz="2200">
                      <a:solidFill>
                        <a:srgbClr val="FFFFFF"/>
                      </a:solidFill>
                    </a:defRPr>
                  </a:pPr>
                  <a:endParaRPr sz="1650" kern="0">
                    <a:solidFill>
                      <a:srgbClr val="FFFFFF"/>
                    </a:solidFill>
                    <a:latin typeface="Helvetica Light"/>
                    <a:sym typeface="Helvetica Light"/>
                  </a:endParaRPr>
                </a:p>
              </p:txBody>
            </p:sp>
            <p:sp>
              <p:nvSpPr>
                <p:cNvPr id="279" name="Shape 279"/>
                <p:cNvSpPr/>
                <p:nvPr/>
              </p:nvSpPr>
              <p:spPr>
                <a:xfrm>
                  <a:off x="6871235" y="3905598"/>
                  <a:ext cx="588809" cy="430268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="" xmlns:ma14="http://schemas.microsoft.com/office/mac/drawingml/2011/main" val="1"/>
                  </a:ext>
                </a:extLst>
              </p:spPr>
              <p:txBody>
                <a:bodyPr wrap="none" lIns="35719" tIns="35719" rIns="35719" bIns="35719" anchor="ctr">
                  <a:spAutoFit/>
                </a:bodyPr>
                <a:lstStyle>
                  <a:lvl1pPr algn="l" defTabSz="1219200">
                    <a:spcBef>
                      <a:spcPts val="1600"/>
                    </a:spcBef>
                    <a:defRPr sz="3000">
                      <a:solidFill>
                        <a:srgbClr val="0A38B3"/>
                      </a:solidFill>
                      <a:latin typeface="Univers LT Std 45 Light"/>
                      <a:ea typeface="Univers LT Std 45 Light"/>
                      <a:cs typeface="Univers LT Std 45 Light"/>
                      <a:sym typeface="Univers LT Std 45 Light"/>
                    </a:defRPr>
                  </a:lvl1pPr>
                </a:lstStyle>
                <a:p>
                  <a:pPr defTabSz="914400" hangingPunct="0">
                    <a:spcBef>
                      <a:spcPts val="1200"/>
                    </a:spcBef>
                    <a:defRPr/>
                  </a:pPr>
                  <a:r>
                    <a:rPr sz="1050" kern="0" dirty="0"/>
                    <a:t>64%</a:t>
                  </a:r>
                </a:p>
              </p:txBody>
            </p:sp>
            <p:sp>
              <p:nvSpPr>
                <p:cNvPr id="280" name="Shape 280"/>
                <p:cNvSpPr/>
                <p:nvPr/>
              </p:nvSpPr>
              <p:spPr>
                <a:xfrm flipH="1">
                  <a:off x="7728415" y="4243330"/>
                  <a:ext cx="413496" cy="70813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1600" y="0"/>
                      </a:moveTo>
                      <a:lnTo>
                        <a:pt x="0" y="65"/>
                      </a:lnTo>
                      <a:lnTo>
                        <a:pt x="0" y="21600"/>
                      </a:lnTo>
                    </a:path>
                  </a:pathLst>
                </a:custGeom>
                <a:ln>
                  <a:solidFill>
                    <a:srgbClr val="0A38B3"/>
                  </a:solidFill>
                  <a:miter lim="400000"/>
                </a:ln>
              </p:spPr>
              <p:txBody>
                <a:bodyPr lIns="35719" tIns="35719" rIns="35719" bIns="35719" anchor="ctr"/>
                <a:lstStyle/>
                <a:p>
                  <a:pPr algn="ctr" defTabSz="410765" hangingPunct="0">
                    <a:defRPr sz="2200">
                      <a:solidFill>
                        <a:srgbClr val="8EE1FE"/>
                      </a:solidFill>
                    </a:defRPr>
                  </a:pPr>
                  <a:endParaRPr sz="1650" kern="0">
                    <a:solidFill>
                      <a:srgbClr val="8EE1FE"/>
                    </a:solidFill>
                    <a:latin typeface="Helvetica Light"/>
                    <a:sym typeface="Helvetica Light"/>
                  </a:endParaRPr>
                </a:p>
              </p:txBody>
            </p:sp>
            <p:sp>
              <p:nvSpPr>
                <p:cNvPr id="281" name="Shape 281"/>
                <p:cNvSpPr/>
                <p:nvPr/>
              </p:nvSpPr>
              <p:spPr>
                <a:xfrm flipH="1">
                  <a:off x="9772194" y="4161011"/>
                  <a:ext cx="435800" cy="22603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0" y="0"/>
                      </a:moveTo>
                      <a:lnTo>
                        <a:pt x="21600" y="65"/>
                      </a:lnTo>
                      <a:lnTo>
                        <a:pt x="21600" y="21600"/>
                      </a:lnTo>
                    </a:path>
                  </a:pathLst>
                </a:custGeom>
                <a:ln>
                  <a:solidFill>
                    <a:srgbClr val="2E6AFF"/>
                  </a:solidFill>
                  <a:miter lim="400000"/>
                </a:ln>
              </p:spPr>
              <p:txBody>
                <a:bodyPr lIns="35719" tIns="35719" rIns="35719" bIns="35719" anchor="ctr"/>
                <a:lstStyle/>
                <a:p>
                  <a:pPr algn="ctr" defTabSz="410765" hangingPunct="0">
                    <a:defRPr sz="2200">
                      <a:solidFill>
                        <a:srgbClr val="8EE1FE"/>
                      </a:solidFill>
                    </a:defRPr>
                  </a:pPr>
                  <a:endParaRPr sz="1650" kern="0">
                    <a:solidFill>
                      <a:srgbClr val="8EE1FE"/>
                    </a:solidFill>
                    <a:latin typeface="Helvetica Light"/>
                    <a:sym typeface="Helvetica Light"/>
                  </a:endParaRPr>
                </a:p>
              </p:txBody>
            </p:sp>
          </p:grpSp>
        </p:grpSp>
      </p:grpSp>
      <p:sp>
        <p:nvSpPr>
          <p:cNvPr id="292" name="Shape 292"/>
          <p:cNvSpPr/>
          <p:nvPr/>
        </p:nvSpPr>
        <p:spPr>
          <a:xfrm flipH="1">
            <a:off x="4115389" y="3049185"/>
            <a:ext cx="1" cy="2773286"/>
          </a:xfrm>
          <a:prstGeom prst="line">
            <a:avLst/>
          </a:prstGeom>
          <a:ln w="38100">
            <a:solidFill>
              <a:schemeClr val="tx2">
                <a:alpha val="27280"/>
              </a:schemeClr>
            </a:solidFill>
            <a:miter lim="400000"/>
          </a:ln>
        </p:spPr>
        <p:txBody>
          <a:bodyPr lIns="34289" tIns="34289" rIns="34289" bIns="34289"/>
          <a:lstStyle/>
          <a:p>
            <a:pPr algn="ctr" defTabSz="410765" hangingPunct="0">
              <a:defRPr/>
            </a:pPr>
            <a:endParaRPr sz="2400" kern="0">
              <a:solidFill>
                <a:srgbClr val="000000"/>
              </a:solidFill>
              <a:latin typeface="Helvetica Light"/>
              <a:sym typeface="Helvetica Light"/>
            </a:endParaRPr>
          </a:p>
        </p:txBody>
      </p:sp>
      <p:sp>
        <p:nvSpPr>
          <p:cNvPr id="390" name="Shape 287"/>
          <p:cNvSpPr/>
          <p:nvPr/>
        </p:nvSpPr>
        <p:spPr>
          <a:xfrm>
            <a:off x="283428" y="1702028"/>
            <a:ext cx="6858690" cy="8309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 algn="just" defTabSz="685800" hangingPunct="0">
              <a:lnSpc>
                <a:spcPct val="90000"/>
              </a:lnSpc>
              <a:defRPr sz="2100">
                <a:solidFill>
                  <a:srgbClr val="054CF9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defRPr>
            </a:pPr>
            <a:r>
              <a:rPr lang="es-ES" sz="2000" kern="0" dirty="0">
                <a:solidFill>
                  <a:srgbClr val="364049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rPr>
              <a:t>El transporte es un sector clave en el proceso de </a:t>
            </a:r>
            <a:r>
              <a:rPr lang="es-ES" sz="2000" kern="0" dirty="0" err="1">
                <a:solidFill>
                  <a:srgbClr val="364049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rPr>
              <a:t>descarbonización</a:t>
            </a:r>
            <a:r>
              <a:rPr lang="es-ES" sz="2000" kern="0" dirty="0">
                <a:solidFill>
                  <a:srgbClr val="364049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rPr>
              <a:t> del modelo energético y en España es la actividad con mayor volumen de emisiones GEI</a:t>
            </a:r>
            <a:endParaRPr sz="2000" kern="0" dirty="0">
              <a:solidFill>
                <a:srgbClr val="364049"/>
              </a:solidFill>
              <a:latin typeface="Univers LT Std 65 Bold"/>
              <a:ea typeface="Univers LT Std 65 Bold"/>
              <a:cs typeface="Univers LT Std 65 Bold"/>
              <a:sym typeface="Univers LT Std 65 Bold"/>
            </a:endParaRPr>
          </a:p>
        </p:txBody>
      </p:sp>
      <p:sp>
        <p:nvSpPr>
          <p:cNvPr id="391" name="Shape 287"/>
          <p:cNvSpPr/>
          <p:nvPr/>
        </p:nvSpPr>
        <p:spPr>
          <a:xfrm>
            <a:off x="7953386" y="2021217"/>
            <a:ext cx="3517951" cy="39818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 indent="-257175" algn="just" defTabSz="685800" hangingPunct="0">
              <a:lnSpc>
                <a:spcPct val="90000"/>
              </a:lnSpc>
              <a:buFont typeface="Wingdings" panose="05000000000000000000" pitchFamily="2" charset="2"/>
              <a:buChar char="q"/>
              <a:defRPr sz="2100">
                <a:solidFill>
                  <a:srgbClr val="054CF9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defRPr>
            </a:pPr>
            <a:r>
              <a:rPr lang="es-ES" sz="1600" kern="0" dirty="0">
                <a:solidFill>
                  <a:srgbClr val="364049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rPr>
              <a:t>A día de hoy, el </a:t>
            </a:r>
            <a:r>
              <a:rPr lang="es-ES" sz="1600" b="1" kern="0" dirty="0">
                <a:solidFill>
                  <a:srgbClr val="00B0F0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rPr>
              <a:t>41%</a:t>
            </a:r>
            <a:r>
              <a:rPr lang="es-ES" sz="1600" kern="0" dirty="0">
                <a:solidFill>
                  <a:srgbClr val="364049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rPr>
              <a:t> de la energía consumida en España está destinada al transporte.</a:t>
            </a:r>
          </a:p>
          <a:p>
            <a:pPr indent="-257175" algn="just" defTabSz="685800" hangingPunct="0">
              <a:lnSpc>
                <a:spcPct val="90000"/>
              </a:lnSpc>
              <a:buFont typeface="Wingdings" panose="05000000000000000000" pitchFamily="2" charset="2"/>
              <a:buChar char="q"/>
              <a:defRPr sz="2100">
                <a:solidFill>
                  <a:srgbClr val="054CF9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defRPr>
            </a:pPr>
            <a:endParaRPr lang="es-ES" sz="1600" kern="0" dirty="0">
              <a:solidFill>
                <a:srgbClr val="364049"/>
              </a:solidFill>
              <a:latin typeface="Univers LT Std 65 Bold"/>
              <a:ea typeface="Univers LT Std 65 Bold"/>
              <a:cs typeface="Univers LT Std 65 Bold"/>
              <a:sym typeface="Univers LT Std 65 Bold"/>
            </a:endParaRPr>
          </a:p>
          <a:p>
            <a:pPr indent="-257175" algn="just" defTabSz="685800" hangingPunct="0">
              <a:lnSpc>
                <a:spcPct val="90000"/>
              </a:lnSpc>
              <a:buFont typeface="Wingdings" panose="05000000000000000000" pitchFamily="2" charset="2"/>
              <a:buChar char="q"/>
              <a:defRPr sz="2100">
                <a:solidFill>
                  <a:srgbClr val="054CF9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defRPr>
            </a:pPr>
            <a:endParaRPr lang="es-ES" sz="1600" kern="0" dirty="0">
              <a:solidFill>
                <a:srgbClr val="364049"/>
              </a:solidFill>
              <a:latin typeface="Univers LT Std 65 Bold"/>
              <a:ea typeface="Univers LT Std 65 Bold"/>
              <a:cs typeface="Univers LT Std 65 Bold"/>
              <a:sym typeface="Univers LT Std 45 Light"/>
            </a:endParaRPr>
          </a:p>
          <a:p>
            <a:pPr indent="-257175" algn="just" defTabSz="685800" hangingPunct="0">
              <a:lnSpc>
                <a:spcPct val="90000"/>
              </a:lnSpc>
              <a:buFont typeface="Wingdings" panose="05000000000000000000" pitchFamily="2" charset="2"/>
              <a:buChar char="q"/>
              <a:defRPr sz="2100">
                <a:solidFill>
                  <a:srgbClr val="054CF9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defRPr>
            </a:pPr>
            <a:r>
              <a:rPr lang="es-ES" sz="1600" kern="0" dirty="0">
                <a:solidFill>
                  <a:srgbClr val="364049"/>
                </a:solidFill>
                <a:latin typeface="Univers LT Std 65 Bold"/>
                <a:ea typeface="Univers LT Std 65 Bold"/>
                <a:cs typeface="Univers LT Std 65 Bold"/>
                <a:sym typeface="Helvetica Light"/>
              </a:rPr>
              <a:t>Todavía, el </a:t>
            </a:r>
            <a:r>
              <a:rPr lang="es-ES" sz="1600" b="1" kern="0" dirty="0">
                <a:solidFill>
                  <a:srgbClr val="00B0F0"/>
                </a:solidFill>
                <a:latin typeface="Univers LT Std 65 Bold"/>
                <a:ea typeface="Univers LT Std 65 Bold"/>
                <a:cs typeface="Univers LT Std 65 Bold"/>
                <a:sym typeface="Helvetica Light"/>
              </a:rPr>
              <a:t>92%</a:t>
            </a:r>
            <a:r>
              <a:rPr lang="es-ES" sz="1600" kern="0" dirty="0">
                <a:solidFill>
                  <a:srgbClr val="364049"/>
                </a:solidFill>
                <a:latin typeface="Univers LT Std 65 Bold"/>
                <a:ea typeface="Univers LT Std 65 Bold"/>
                <a:cs typeface="Univers LT Std 65 Bold"/>
                <a:sym typeface="Helvetica Light"/>
              </a:rPr>
              <a:t> </a:t>
            </a:r>
            <a:r>
              <a:rPr lang="es-ES" sz="1600" kern="0" dirty="0" smtClean="0">
                <a:solidFill>
                  <a:srgbClr val="364049"/>
                </a:solidFill>
                <a:latin typeface="Univers LT Std 65 Bold"/>
                <a:ea typeface="Univers LT Std 65 Bold"/>
                <a:cs typeface="Univers LT Std 65 Bold"/>
                <a:sym typeface="Helvetica Light"/>
              </a:rPr>
              <a:t>del combustible usando en el transporte </a:t>
            </a:r>
            <a:r>
              <a:rPr lang="es-ES" sz="1600" kern="0" dirty="0">
                <a:solidFill>
                  <a:srgbClr val="364049"/>
                </a:solidFill>
                <a:latin typeface="Univers LT Std 65 Bold"/>
                <a:ea typeface="Univers LT Std 65 Bold"/>
                <a:cs typeface="Univers LT Std 65 Bold"/>
                <a:sym typeface="Helvetica Light"/>
              </a:rPr>
              <a:t>proviene de </a:t>
            </a:r>
            <a:r>
              <a:rPr lang="es-ES" sz="1600" kern="0" dirty="0">
                <a:solidFill>
                  <a:srgbClr val="00B0F0"/>
                </a:solidFill>
                <a:latin typeface="Univers LT Std 65 Bold"/>
                <a:ea typeface="Univers LT Std 65 Bold"/>
                <a:cs typeface="Univers LT Std 65 Bold"/>
                <a:sym typeface="Helvetica Light"/>
              </a:rPr>
              <a:t>fuentes derivadas del petróleo</a:t>
            </a:r>
            <a:r>
              <a:rPr lang="es-ES" sz="1600" kern="0" dirty="0">
                <a:solidFill>
                  <a:srgbClr val="364049"/>
                </a:solidFill>
                <a:latin typeface="Univers LT Std 65 Bold"/>
                <a:ea typeface="Univers LT Std 65 Bold"/>
                <a:cs typeface="Univers LT Std 65 Bold"/>
                <a:sym typeface="Helvetica Light"/>
              </a:rPr>
              <a:t>.</a:t>
            </a:r>
          </a:p>
          <a:p>
            <a:pPr indent="-257175" algn="just" defTabSz="685800" hangingPunct="0">
              <a:lnSpc>
                <a:spcPct val="90000"/>
              </a:lnSpc>
              <a:buFont typeface="Wingdings" panose="05000000000000000000" pitchFamily="2" charset="2"/>
              <a:buChar char="q"/>
              <a:defRPr sz="2100">
                <a:solidFill>
                  <a:srgbClr val="054CF9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defRPr>
            </a:pPr>
            <a:endParaRPr lang="es-ES" sz="1600" kern="0" dirty="0">
              <a:solidFill>
                <a:srgbClr val="364049"/>
              </a:solidFill>
              <a:latin typeface="Univers LT Std 65 Bold"/>
              <a:ea typeface="Univers LT Std 65 Bold"/>
              <a:cs typeface="Univers LT Std 65 Bold"/>
              <a:sym typeface="Univers LT Std 45 Light"/>
            </a:endParaRPr>
          </a:p>
          <a:p>
            <a:pPr indent="-257175" algn="just" defTabSz="685800" hangingPunct="0">
              <a:lnSpc>
                <a:spcPct val="90000"/>
              </a:lnSpc>
              <a:buFont typeface="Wingdings" panose="05000000000000000000" pitchFamily="2" charset="2"/>
              <a:buChar char="q"/>
              <a:defRPr sz="2100">
                <a:solidFill>
                  <a:srgbClr val="054CF9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defRPr>
            </a:pPr>
            <a:r>
              <a:rPr lang="es-ES" sz="1600" kern="0" dirty="0">
                <a:solidFill>
                  <a:srgbClr val="364049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rPr>
              <a:t>Mas del </a:t>
            </a:r>
            <a:r>
              <a:rPr lang="es-ES" sz="1600" b="1" kern="0" dirty="0">
                <a:solidFill>
                  <a:srgbClr val="00B0F0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rPr>
              <a:t>24%</a:t>
            </a:r>
            <a:r>
              <a:rPr lang="es-ES" sz="1600" b="1" kern="0" dirty="0">
                <a:solidFill>
                  <a:srgbClr val="364049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rPr>
              <a:t> </a:t>
            </a:r>
            <a:r>
              <a:rPr lang="es-ES" sz="1600" kern="0" dirty="0">
                <a:solidFill>
                  <a:srgbClr val="364049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rPr>
              <a:t>de las emisiones de GEI vienen del sector del transporte (80 MtCO2). </a:t>
            </a:r>
          </a:p>
          <a:p>
            <a:pPr indent="-257175" algn="just" defTabSz="685800" hangingPunct="0">
              <a:lnSpc>
                <a:spcPct val="90000"/>
              </a:lnSpc>
              <a:buFont typeface="Wingdings" panose="05000000000000000000" pitchFamily="2" charset="2"/>
              <a:buChar char="q"/>
              <a:defRPr sz="2100">
                <a:solidFill>
                  <a:srgbClr val="054CF9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defRPr>
            </a:pPr>
            <a:endParaRPr lang="es-ES" sz="1600" kern="0" dirty="0">
              <a:solidFill>
                <a:srgbClr val="364049"/>
              </a:solidFill>
              <a:latin typeface="Univers LT Std 65 Bold"/>
              <a:ea typeface="Univers LT Std 65 Bold"/>
              <a:cs typeface="Univers LT Std 65 Bold"/>
              <a:sym typeface="Univers LT Std 65 Bold"/>
            </a:endParaRPr>
          </a:p>
          <a:p>
            <a:pPr indent="-257175" algn="just" defTabSz="685800" hangingPunct="0">
              <a:lnSpc>
                <a:spcPct val="90000"/>
              </a:lnSpc>
              <a:buFont typeface="Wingdings" panose="05000000000000000000" pitchFamily="2" charset="2"/>
              <a:buChar char="q"/>
              <a:defRPr sz="2100">
                <a:solidFill>
                  <a:srgbClr val="054CF9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defRPr>
            </a:pPr>
            <a:r>
              <a:rPr lang="es-ES" sz="1600" kern="0" dirty="0">
                <a:solidFill>
                  <a:srgbClr val="364049"/>
                </a:solidFill>
                <a:latin typeface="Univers LT Std 65 Bold"/>
                <a:ea typeface="Univers LT Std 65 Bold"/>
                <a:cs typeface="Univers LT Std 65 Bold"/>
                <a:sym typeface="Univers LT Std 45 Light"/>
              </a:rPr>
              <a:t>De estas, mas del </a:t>
            </a:r>
            <a:r>
              <a:rPr lang="es-ES" sz="1600" b="1" kern="0" dirty="0">
                <a:solidFill>
                  <a:srgbClr val="00B0F0"/>
                </a:solidFill>
                <a:latin typeface="Univers LT Std 65 Bold"/>
                <a:ea typeface="Univers LT Std 65 Bold"/>
                <a:cs typeface="Univers LT Std 65 Bold"/>
                <a:sym typeface="Univers LT Std 45 Light"/>
              </a:rPr>
              <a:t>9</a:t>
            </a:r>
            <a:r>
              <a:rPr lang="es-ES" sz="1600" b="1" kern="0" dirty="0">
                <a:solidFill>
                  <a:srgbClr val="00B0F0"/>
                </a:solidFill>
                <a:latin typeface="Univers LT Std 65 Bold"/>
                <a:ea typeface="Univers LT Std 65 Bold"/>
                <a:cs typeface="Univers LT Std 65 Bold"/>
                <a:sym typeface="Helvetica Light"/>
              </a:rPr>
              <a:t>4</a:t>
            </a:r>
            <a:r>
              <a:rPr lang="es-ES" sz="1600" b="1" kern="0" dirty="0">
                <a:solidFill>
                  <a:srgbClr val="00B0F0"/>
                </a:solidFill>
                <a:latin typeface="Univers LT Std 65 Bold"/>
                <a:ea typeface="Univers LT Std 65 Bold"/>
                <a:cs typeface="Univers LT Std 65 Bold"/>
                <a:sym typeface="Univers LT Std 45 Light"/>
              </a:rPr>
              <a:t>%</a:t>
            </a:r>
            <a:r>
              <a:rPr lang="es-ES" sz="1600" kern="0" dirty="0">
                <a:solidFill>
                  <a:srgbClr val="364049"/>
                </a:solidFill>
                <a:latin typeface="Univers LT Std 65 Bold"/>
                <a:ea typeface="Univers LT Std 65 Bold"/>
                <a:cs typeface="Univers LT Std 65 Bold"/>
                <a:sym typeface="Univers LT Std 45 Light"/>
              </a:rPr>
              <a:t> tienen origen en el </a:t>
            </a:r>
            <a:r>
              <a:rPr lang="es-ES" sz="1600" kern="0" dirty="0">
                <a:solidFill>
                  <a:srgbClr val="00B0F0"/>
                </a:solidFill>
                <a:latin typeface="Univers LT Std 65 Bold"/>
                <a:ea typeface="Univers LT Std 65 Bold"/>
                <a:cs typeface="Univers LT Std 65 Bold"/>
                <a:sym typeface="Univers LT Std 45 Light"/>
              </a:rPr>
              <a:t>transporte terrestre de pasajeros y mercancías</a:t>
            </a:r>
            <a:r>
              <a:rPr lang="es-ES" sz="1600" kern="0" dirty="0">
                <a:solidFill>
                  <a:srgbClr val="00B0F0"/>
                </a:solidFill>
                <a:latin typeface="Univers LT Std 65 Bold"/>
                <a:ea typeface="Univers LT Std 65 Bold"/>
                <a:cs typeface="Univers LT Std 65 Bold"/>
                <a:sym typeface="Helvetica Light"/>
              </a:rPr>
              <a:t>.</a:t>
            </a:r>
          </a:p>
          <a:p>
            <a:pPr algn="just" defTabSz="685800" hangingPunct="0">
              <a:lnSpc>
                <a:spcPct val="90000"/>
              </a:lnSpc>
              <a:defRPr sz="2100">
                <a:solidFill>
                  <a:srgbClr val="054CF9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defRPr>
            </a:pPr>
            <a:endParaRPr lang="es-ES" sz="1600" kern="0" dirty="0">
              <a:solidFill>
                <a:srgbClr val="0365C0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Univers LT Std 65 Bold"/>
            </a:endParaRPr>
          </a:p>
          <a:p>
            <a:pPr algn="just" defTabSz="685800" hangingPunct="0">
              <a:lnSpc>
                <a:spcPct val="90000"/>
              </a:lnSpc>
              <a:defRPr sz="2100">
                <a:solidFill>
                  <a:srgbClr val="054CF9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defRPr>
            </a:pPr>
            <a:endParaRPr sz="1600" kern="0" dirty="0">
              <a:solidFill>
                <a:srgbClr val="0365C0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  <a:sym typeface="Univers LT Std 65 Bold"/>
            </a:endParaRPr>
          </a:p>
        </p:txBody>
      </p:sp>
    </p:spTree>
    <p:extLst>
      <p:ext uri="{BB962C8B-B14F-4D97-AF65-F5344CB8AC3E}">
        <p14:creationId xmlns:p14="http://schemas.microsoft.com/office/powerpoint/2010/main" val="2306241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object 66"/>
          <p:cNvSpPr/>
          <p:nvPr/>
        </p:nvSpPr>
        <p:spPr>
          <a:xfrm>
            <a:off x="0" y="1"/>
            <a:ext cx="12220278" cy="2165684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" name="Imagen 1" descr="caca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78" y="-1"/>
            <a:ext cx="12192000" cy="2165686"/>
          </a:xfrm>
          <a:prstGeom prst="rect">
            <a:avLst/>
          </a:prstGeom>
        </p:spPr>
      </p:pic>
      <p:sp>
        <p:nvSpPr>
          <p:cNvPr id="369" name="Shape 369"/>
          <p:cNvSpPr/>
          <p:nvPr/>
        </p:nvSpPr>
        <p:spPr>
          <a:xfrm>
            <a:off x="398145" y="251141"/>
            <a:ext cx="10232034" cy="628016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5400" tIns="25400" rIns="25400" bIns="25400" anchor="ctr">
            <a:normAutofit/>
          </a:bodyPr>
          <a:lstStyle/>
          <a:p>
            <a:pPr defTabSz="412750" hangingPunct="0">
              <a:lnSpc>
                <a:spcPct val="90000"/>
              </a:lnSpc>
              <a:defRPr sz="5100">
                <a:solidFill>
                  <a:srgbClr val="FFFFFF"/>
                </a:solidFill>
                <a:latin typeface="Univers LT Std 45 Light"/>
                <a:ea typeface="Univers LT Std 45 Light"/>
                <a:cs typeface="Univers LT Std 45 Light"/>
                <a:sym typeface="Univers LT Std 45 Light"/>
              </a:defRPr>
            </a:pPr>
            <a:r>
              <a:rPr lang="es-ES" sz="3800" b="1" kern="0" dirty="0" smtClean="0">
                <a:solidFill>
                  <a:srgbClr val="FFFFFF"/>
                </a:solidFill>
                <a:latin typeface="Univers LT Std 45 Light"/>
                <a:ea typeface="Arial"/>
                <a:cs typeface="Arial"/>
                <a:sym typeface="Arial"/>
              </a:rPr>
              <a:t>EVOLUCIÓN del precio del Diésel</a:t>
            </a:r>
            <a:endParaRPr lang="es-ES" sz="3800" b="1" kern="0" dirty="0">
              <a:solidFill>
                <a:srgbClr val="FFFFFF"/>
              </a:solidFill>
              <a:latin typeface="Univers LT Std 45 Light"/>
              <a:ea typeface="Arial"/>
              <a:cs typeface="Arial"/>
              <a:sym typeface="Arial"/>
            </a:endParaRPr>
          </a:p>
        </p:txBody>
      </p:sp>
      <p:sp>
        <p:nvSpPr>
          <p:cNvPr id="432" name="Shape 432"/>
          <p:cNvSpPr/>
          <p:nvPr/>
        </p:nvSpPr>
        <p:spPr>
          <a:xfrm>
            <a:off x="-14198" y="-1"/>
            <a:ext cx="56557" cy="1130301"/>
          </a:xfrm>
          <a:prstGeom prst="rect">
            <a:avLst/>
          </a:prstGeom>
          <a:solidFill>
            <a:srgbClr val="0554FA"/>
          </a:solidFill>
          <a:ln w="3175">
            <a:miter lim="400000"/>
          </a:ln>
        </p:spPr>
        <p:txBody>
          <a:bodyPr lIns="25399" tIns="25399" rIns="25399" bIns="25399" anchor="ctr"/>
          <a:lstStyle/>
          <a:p>
            <a:pPr algn="ctr" defTabSz="412749" hangingPunct="0">
              <a:defRPr sz="2400"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sp>
        <p:nvSpPr>
          <p:cNvPr id="73" name="Shape 369"/>
          <p:cNvSpPr/>
          <p:nvPr/>
        </p:nvSpPr>
        <p:spPr>
          <a:xfrm>
            <a:off x="487773" y="2496250"/>
            <a:ext cx="5588830" cy="521122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5400" tIns="25400" rIns="25400" bIns="25400" anchor="ctr">
            <a:noAutofit/>
          </a:bodyPr>
          <a:lstStyle/>
          <a:p>
            <a:pPr algn="ctr" defTabSz="412750" hangingPunct="0">
              <a:lnSpc>
                <a:spcPct val="90000"/>
              </a:lnSpc>
              <a:defRPr sz="5100">
                <a:solidFill>
                  <a:srgbClr val="FFFFFF"/>
                </a:solidFill>
                <a:latin typeface="Univers LT Std 45 Light"/>
                <a:ea typeface="Univers LT Std 45 Light"/>
                <a:cs typeface="Univers LT Std 45 Light"/>
                <a:sym typeface="Univers LT Std 45 Light"/>
              </a:defRPr>
            </a:pPr>
            <a:r>
              <a:rPr lang="es-ES" sz="2000" kern="0" dirty="0">
                <a:solidFill>
                  <a:srgbClr val="364049"/>
                </a:solidFill>
                <a:latin typeface="Univers LT Std 65 Bold"/>
                <a:ea typeface="Univers LT Std 65 Bold"/>
                <a:cs typeface="Univers LT Std 65 Bold"/>
                <a:sym typeface="Arial"/>
              </a:rPr>
              <a:t>Promedio mensual diésel (</a:t>
            </a:r>
            <a:r>
              <a:rPr lang="es-ES" sz="2000" kern="0" dirty="0" err="1">
                <a:solidFill>
                  <a:srgbClr val="364049"/>
                </a:solidFill>
                <a:latin typeface="Univers LT Std 65 Bold"/>
                <a:ea typeface="Univers LT Std 65 Bold"/>
                <a:cs typeface="Univers LT Std 65 Bold"/>
                <a:sym typeface="Arial"/>
              </a:rPr>
              <a:t>cts</a:t>
            </a:r>
            <a:r>
              <a:rPr lang="es-ES" sz="2000" kern="0" dirty="0">
                <a:solidFill>
                  <a:srgbClr val="364049"/>
                </a:solidFill>
                <a:latin typeface="Univers LT Std 65 Bold"/>
                <a:ea typeface="Univers LT Std 65 Bold"/>
                <a:cs typeface="Univers LT Std 65 Bold"/>
                <a:sym typeface="Arial"/>
              </a:rPr>
              <a:t> €/l IVA incluido)</a:t>
            </a:r>
          </a:p>
        </p:txBody>
      </p:sp>
      <p:sp>
        <p:nvSpPr>
          <p:cNvPr id="10" name="Shape 287"/>
          <p:cNvSpPr/>
          <p:nvPr/>
        </p:nvSpPr>
        <p:spPr>
          <a:xfrm>
            <a:off x="6642537" y="2791119"/>
            <a:ext cx="5014469" cy="353866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257175" indent="-257175" algn="just" defTabSz="685800" hangingPunct="0">
              <a:lnSpc>
                <a:spcPct val="90000"/>
              </a:lnSpc>
              <a:buFont typeface="Wingdings" panose="05000000000000000000" pitchFamily="2" charset="2"/>
              <a:buChar char="q"/>
              <a:defRPr sz="2100">
                <a:solidFill>
                  <a:srgbClr val="054CF9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defRPr>
            </a:pPr>
            <a:r>
              <a:rPr lang="es-ES" sz="1600" kern="0" dirty="0">
                <a:solidFill>
                  <a:srgbClr val="364049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rPr>
              <a:t>Incremento del precio del gasóleo de más de un </a:t>
            </a:r>
            <a:r>
              <a:rPr lang="es-ES" sz="1600" kern="0" dirty="0">
                <a:solidFill>
                  <a:srgbClr val="00B0F0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rPr>
              <a:t>25% </a:t>
            </a:r>
            <a:r>
              <a:rPr lang="es-ES" sz="1600" kern="0" dirty="0">
                <a:solidFill>
                  <a:srgbClr val="364049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rPr>
              <a:t>en el periodo enero 2016-mayo 2018.</a:t>
            </a:r>
          </a:p>
          <a:p>
            <a:pPr marL="257175" indent="-257175" algn="just" defTabSz="685800" hangingPunct="0">
              <a:lnSpc>
                <a:spcPct val="90000"/>
              </a:lnSpc>
              <a:buFont typeface="Wingdings" panose="05000000000000000000" pitchFamily="2" charset="2"/>
              <a:buChar char="q"/>
              <a:defRPr sz="2100">
                <a:solidFill>
                  <a:srgbClr val="054CF9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defRPr>
            </a:pPr>
            <a:endParaRPr lang="es-ES" sz="1600" kern="0" dirty="0">
              <a:solidFill>
                <a:srgbClr val="364049"/>
              </a:solidFill>
              <a:latin typeface="Univers LT Std 65 Bold"/>
              <a:ea typeface="Univers LT Std 65 Bold"/>
              <a:cs typeface="Univers LT Std 65 Bold"/>
              <a:sym typeface="Univers LT Std 65 Bold"/>
            </a:endParaRPr>
          </a:p>
          <a:p>
            <a:pPr marL="257175" indent="-257175" algn="just" defTabSz="685800" hangingPunct="0">
              <a:lnSpc>
                <a:spcPct val="90000"/>
              </a:lnSpc>
              <a:buFont typeface="Wingdings" panose="05000000000000000000" pitchFamily="2" charset="2"/>
              <a:buChar char="q"/>
              <a:defRPr/>
            </a:pPr>
            <a:endParaRPr lang="es-ES" sz="1600" kern="0" dirty="0">
              <a:solidFill>
                <a:srgbClr val="364049"/>
              </a:solidFill>
              <a:latin typeface="Univers LT Std 65 Bold"/>
              <a:ea typeface="Univers LT Std 65 Bold"/>
              <a:cs typeface="Univers LT Std 65 Bold"/>
              <a:sym typeface="Univers LT Std 45 Light"/>
            </a:endParaRPr>
          </a:p>
          <a:p>
            <a:pPr marL="257175" indent="-257175" algn="just" defTabSz="685800" hangingPunct="0">
              <a:lnSpc>
                <a:spcPct val="90000"/>
              </a:lnSpc>
              <a:buFont typeface="Wingdings" panose="05000000000000000000" pitchFamily="2" charset="2"/>
              <a:buChar char="q"/>
              <a:defRPr/>
            </a:pPr>
            <a:r>
              <a:rPr lang="es-ES" sz="1600" kern="0" dirty="0">
                <a:solidFill>
                  <a:srgbClr val="364049"/>
                </a:solidFill>
                <a:latin typeface="Univers LT Std 65 Bold"/>
                <a:ea typeface="Univers LT Std 65 Bold"/>
                <a:cs typeface="Univers LT Std 65 Bold"/>
                <a:sym typeface="Helvetica Light"/>
              </a:rPr>
              <a:t>Posible desarrollo de una </a:t>
            </a:r>
            <a:r>
              <a:rPr lang="es-ES" sz="1600" kern="0" dirty="0">
                <a:solidFill>
                  <a:srgbClr val="00B0F0"/>
                </a:solidFill>
                <a:latin typeface="Univers LT Std 65 Bold"/>
                <a:ea typeface="Univers LT Std 65 Bold"/>
                <a:cs typeface="Univers LT Std 65 Bold"/>
                <a:sym typeface="Helvetica Light"/>
              </a:rPr>
              <a:t>Fiscalidad Vinculada al dióxido de carbono</a:t>
            </a:r>
            <a:r>
              <a:rPr lang="es-ES" sz="1600" kern="0" dirty="0">
                <a:solidFill>
                  <a:srgbClr val="364049"/>
                </a:solidFill>
                <a:latin typeface="Univers LT Std 65 Bold"/>
                <a:ea typeface="Univers LT Std 65 Bold"/>
                <a:cs typeface="Univers LT Std 65 Bold"/>
                <a:sym typeface="Helvetica Light"/>
              </a:rPr>
              <a:t>, bajo el principio de “quien contamina paga”.</a:t>
            </a:r>
          </a:p>
          <a:p>
            <a:pPr marL="257175" indent="-257175" algn="just" defTabSz="685800" hangingPunct="0">
              <a:lnSpc>
                <a:spcPct val="90000"/>
              </a:lnSpc>
              <a:buFont typeface="Wingdings" panose="05000000000000000000" pitchFamily="2" charset="2"/>
              <a:buChar char="q"/>
              <a:defRPr/>
            </a:pPr>
            <a:endParaRPr lang="es-ES" sz="1600" kern="0" dirty="0">
              <a:solidFill>
                <a:srgbClr val="364049"/>
              </a:solidFill>
              <a:latin typeface="Univers LT Std 65 Bold"/>
              <a:ea typeface="Univers LT Std 65 Bold"/>
              <a:cs typeface="Univers LT Std 65 Bold"/>
              <a:sym typeface="Univers LT Std 45 Light"/>
            </a:endParaRPr>
          </a:p>
          <a:p>
            <a:pPr marL="742950" lvl="1" indent="-285750" algn="just" defTabSz="685800" hangingPunct="0">
              <a:lnSpc>
                <a:spcPct val="90000"/>
              </a:lnSpc>
              <a:buFont typeface="Courier New" panose="02070309020205020404" pitchFamily="49" charset="0"/>
              <a:buChar char="o"/>
              <a:defRPr sz="2100">
                <a:solidFill>
                  <a:srgbClr val="054CF9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defRPr>
            </a:pPr>
            <a:r>
              <a:rPr lang="es-ES" sz="1600" kern="0" dirty="0">
                <a:solidFill>
                  <a:srgbClr val="364049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rPr>
              <a:t>Incremento del </a:t>
            </a:r>
            <a:r>
              <a:rPr lang="es-ES" sz="1600" kern="0" dirty="0">
                <a:solidFill>
                  <a:srgbClr val="00B0F0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rPr>
              <a:t>tipo impositivo </a:t>
            </a:r>
            <a:r>
              <a:rPr lang="es-ES" sz="1600" kern="0" dirty="0">
                <a:solidFill>
                  <a:srgbClr val="364049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rPr>
              <a:t>al gasóleo.</a:t>
            </a:r>
          </a:p>
          <a:p>
            <a:pPr marL="742950" lvl="1" indent="-285750" algn="just" defTabSz="685800" hangingPunct="0">
              <a:lnSpc>
                <a:spcPct val="90000"/>
              </a:lnSpc>
              <a:buFont typeface="Courier New" panose="02070309020205020404" pitchFamily="49" charset="0"/>
              <a:buChar char="o"/>
              <a:defRPr sz="2100">
                <a:solidFill>
                  <a:srgbClr val="054CF9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defRPr>
            </a:pPr>
            <a:r>
              <a:rPr lang="es-ES" sz="1600" kern="0" dirty="0">
                <a:solidFill>
                  <a:srgbClr val="364049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rPr>
              <a:t>Incremento del </a:t>
            </a:r>
            <a:r>
              <a:rPr lang="es-ES" sz="1600" kern="0" dirty="0">
                <a:solidFill>
                  <a:srgbClr val="00B0F0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rPr>
              <a:t>impuesto de circulación </a:t>
            </a:r>
            <a:r>
              <a:rPr lang="es-ES" sz="1600" kern="0" dirty="0">
                <a:solidFill>
                  <a:srgbClr val="364049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rPr>
              <a:t>de los ayuntamientos.</a:t>
            </a:r>
          </a:p>
          <a:p>
            <a:pPr marL="742950" lvl="1" indent="-285750" algn="just" defTabSz="685800" hangingPunct="0">
              <a:lnSpc>
                <a:spcPct val="90000"/>
              </a:lnSpc>
              <a:buFont typeface="Courier New" panose="02070309020205020404" pitchFamily="49" charset="0"/>
              <a:buChar char="o"/>
              <a:defRPr sz="2100">
                <a:solidFill>
                  <a:srgbClr val="054CF9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defRPr>
            </a:pPr>
            <a:endParaRPr lang="es-ES" sz="1600" kern="0" dirty="0">
              <a:solidFill>
                <a:srgbClr val="364049"/>
              </a:solidFill>
              <a:latin typeface="Univers LT Std 65 Bold"/>
              <a:ea typeface="Univers LT Std 65 Bold"/>
              <a:cs typeface="Univers LT Std 65 Bold"/>
              <a:sym typeface="Univers LT Std 65 Bold"/>
            </a:endParaRPr>
          </a:p>
          <a:p>
            <a:pPr marL="257175" indent="-257175" algn="just" defTabSz="685800" hangingPunct="0">
              <a:lnSpc>
                <a:spcPct val="90000"/>
              </a:lnSpc>
              <a:buFont typeface="Wingdings" panose="05000000000000000000" pitchFamily="2" charset="2"/>
              <a:buChar char="q"/>
              <a:defRPr sz="2100">
                <a:solidFill>
                  <a:srgbClr val="054CF9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defRPr>
            </a:pPr>
            <a:r>
              <a:rPr lang="es-ES" sz="1600" kern="0" dirty="0">
                <a:solidFill>
                  <a:srgbClr val="00B0F0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rPr>
              <a:t>Restricciones</a:t>
            </a:r>
            <a:r>
              <a:rPr lang="es-ES" sz="1600" kern="0" dirty="0">
                <a:solidFill>
                  <a:srgbClr val="364049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rPr>
              <a:t> para la circulación en núcleos urbanos de vehículos diésel (ejemplo APR en Madrid)</a:t>
            </a:r>
          </a:p>
          <a:p>
            <a:pPr algn="just" defTabSz="685800" hangingPunct="0">
              <a:lnSpc>
                <a:spcPct val="90000"/>
              </a:lnSpc>
              <a:defRPr sz="2100">
                <a:solidFill>
                  <a:srgbClr val="054CF9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defRPr>
            </a:pPr>
            <a:endParaRPr lang="es-ES" sz="1575" kern="0" dirty="0">
              <a:solidFill>
                <a:srgbClr val="0365C0">
                  <a:lumMod val="75000"/>
                </a:srgbClr>
              </a:solidFill>
              <a:latin typeface="Arial" panose="020B0604020202020204" pitchFamily="34" charset="0"/>
              <a:ea typeface="Univers LT Std 65 Bold"/>
              <a:cs typeface="Arial" panose="020B0604020202020204" pitchFamily="34" charset="0"/>
              <a:sym typeface="Univers LT Std 65 Bold"/>
            </a:endParaRPr>
          </a:p>
          <a:p>
            <a:pPr algn="just" defTabSz="685800" hangingPunct="0">
              <a:lnSpc>
                <a:spcPct val="90000"/>
              </a:lnSpc>
              <a:defRPr sz="2100">
                <a:solidFill>
                  <a:srgbClr val="054CF9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defRPr>
            </a:pPr>
            <a:endParaRPr sz="1575" kern="0" dirty="0">
              <a:solidFill>
                <a:srgbClr val="0365C0">
                  <a:lumMod val="75000"/>
                </a:srgbClr>
              </a:solidFill>
              <a:latin typeface="Arial" panose="020B0604020202020204" pitchFamily="34" charset="0"/>
              <a:ea typeface="Univers LT Std 65 Bold"/>
              <a:cs typeface="Arial" panose="020B0604020202020204" pitchFamily="34" charset="0"/>
              <a:sym typeface="Univers LT Std 65 Bold"/>
            </a:endParaRPr>
          </a:p>
        </p:txBody>
      </p:sp>
      <p:grpSp>
        <p:nvGrpSpPr>
          <p:cNvPr id="8" name="Grupo 7"/>
          <p:cNvGrpSpPr/>
          <p:nvPr/>
        </p:nvGrpSpPr>
        <p:grpSpPr>
          <a:xfrm>
            <a:off x="487772" y="3316453"/>
            <a:ext cx="5588831" cy="2989089"/>
            <a:chOff x="629091" y="3142210"/>
            <a:chExt cx="6256948" cy="3357629"/>
          </a:xfrm>
        </p:grpSpPr>
        <p:pic>
          <p:nvPicPr>
            <p:cNvPr id="67" name="Imagen 66"/>
            <p:cNvPicPr>
              <a:picLocks noChangeAspect="1"/>
            </p:cNvPicPr>
            <p:nvPr/>
          </p:nvPicPr>
          <p:blipFill rotWithShape="1"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152000"/>
                      </a14:imgEffect>
                      <a14:imgEffect>
                        <a14:brightnessContrast contrast="58000"/>
                      </a14:imgEffect>
                    </a14:imgLayer>
                  </a14:imgProps>
                </a:ext>
              </a:extLst>
            </a:blip>
            <a:srcRect l="1278" t="21380" r="1851" b="2322"/>
            <a:stretch/>
          </p:blipFill>
          <p:spPr>
            <a:xfrm>
              <a:off x="778493" y="3331529"/>
              <a:ext cx="5958144" cy="2820691"/>
            </a:xfrm>
            <a:prstGeom prst="rect">
              <a:avLst/>
            </a:prstGeom>
          </p:spPr>
        </p:pic>
        <p:sp>
          <p:nvSpPr>
            <p:cNvPr id="9" name="Rectángulo 8"/>
            <p:cNvSpPr/>
            <p:nvPr/>
          </p:nvSpPr>
          <p:spPr>
            <a:xfrm>
              <a:off x="629091" y="3142210"/>
              <a:ext cx="6256948" cy="3357629"/>
            </a:xfrm>
            <a:prstGeom prst="rect">
              <a:avLst/>
            </a:prstGeom>
            <a:noFill/>
            <a:ln w="15875" cap="flat">
              <a:solidFill>
                <a:srgbClr val="0555FA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7625" tIns="47625" rIns="47625" bIns="47625" numCol="1" spcCol="38100" rtlCol="0" anchor="ctr">
              <a:spAutoFit/>
            </a:bodyPr>
            <a:lstStyle/>
            <a:p>
              <a:pPr marL="0" marR="0" indent="0" algn="ctr" defTabSz="547687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s-ES" sz="2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sp>
          <p:nvSpPr>
            <p:cNvPr id="3" name="Flecha derecha 2"/>
            <p:cNvSpPr/>
            <p:nvPr/>
          </p:nvSpPr>
          <p:spPr>
            <a:xfrm rot="20602024">
              <a:off x="2174160" y="4587778"/>
              <a:ext cx="3656833" cy="233544"/>
            </a:xfrm>
            <a:prstGeom prst="rightArrow">
              <a:avLst/>
            </a:prstGeom>
            <a:solidFill>
              <a:srgbClr val="0555FA"/>
            </a:solidFill>
            <a:ln w="3175" cap="flat">
              <a:noFill/>
              <a:miter lim="400000"/>
            </a:ln>
            <a:effectLst>
              <a:outerShdw blurRad="25400" dist="127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7625" tIns="47625" rIns="47625" bIns="47625" numCol="1" spcCol="38100" rtlCol="0" anchor="ctr">
              <a:spAutoFit/>
            </a:bodyPr>
            <a:lstStyle/>
            <a:p>
              <a:pPr marL="0" marR="0" indent="0" algn="ctr" defTabSz="547687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s-ES" sz="2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cxnSp>
          <p:nvCxnSpPr>
            <p:cNvPr id="5" name="Conector recto 4"/>
            <p:cNvCxnSpPr/>
            <p:nvPr/>
          </p:nvCxnSpPr>
          <p:spPr>
            <a:xfrm>
              <a:off x="1388225" y="3386499"/>
              <a:ext cx="0" cy="2174716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  <p:cxnSp>
          <p:nvCxnSpPr>
            <p:cNvPr id="7" name="Conector recto 6"/>
            <p:cNvCxnSpPr/>
            <p:nvPr/>
          </p:nvCxnSpPr>
          <p:spPr>
            <a:xfrm>
              <a:off x="1388225" y="5561215"/>
              <a:ext cx="5228706" cy="0"/>
            </a:xfrm>
            <a:prstGeom prst="line">
              <a:avLst/>
            </a:prstGeom>
            <a:noFill/>
            <a:ln w="12700" cap="flat">
              <a:solidFill>
                <a:srgbClr val="000000"/>
              </a:solidFill>
              <a:prstDash val="solid"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</p:cxnSp>
      </p:grpSp>
    </p:spTree>
    <p:extLst>
      <p:ext uri="{BB962C8B-B14F-4D97-AF65-F5344CB8AC3E}">
        <p14:creationId xmlns:p14="http://schemas.microsoft.com/office/powerpoint/2010/main" val="151446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6256000" h="9144000">
                <a:moveTo>
                  <a:pt x="0" y="0"/>
                </a:moveTo>
                <a:lnTo>
                  <a:pt x="16256000" y="0"/>
                </a:lnTo>
                <a:lnTo>
                  <a:pt x="16256000" y="9144000"/>
                </a:lnTo>
                <a:lnTo>
                  <a:pt x="0" y="914400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3" name="object 3"/>
          <p:cNvSpPr/>
          <p:nvPr/>
        </p:nvSpPr>
        <p:spPr>
          <a:xfrm>
            <a:off x="0" y="619125"/>
            <a:ext cx="12192000" cy="623887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4" name="object 4"/>
          <p:cNvSpPr/>
          <p:nvPr/>
        </p:nvSpPr>
        <p:spPr>
          <a:xfrm>
            <a:off x="0" y="3814029"/>
            <a:ext cx="12192000" cy="284034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5" name="object 5"/>
          <p:cNvSpPr/>
          <p:nvPr/>
        </p:nvSpPr>
        <p:spPr>
          <a:xfrm>
            <a:off x="9526" y="3823554"/>
            <a:ext cx="12182474" cy="280224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6" name="object 6"/>
          <p:cNvSpPr/>
          <p:nvPr/>
        </p:nvSpPr>
        <p:spPr>
          <a:xfrm>
            <a:off x="1" y="0"/>
            <a:ext cx="5618318" cy="3051572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7" name="object 7"/>
          <p:cNvSpPr/>
          <p:nvPr/>
        </p:nvSpPr>
        <p:spPr>
          <a:xfrm>
            <a:off x="885825" y="2540734"/>
            <a:ext cx="2370773" cy="0"/>
          </a:xfrm>
          <a:custGeom>
            <a:avLst/>
            <a:gdLst/>
            <a:ahLst/>
            <a:cxnLst/>
            <a:rect l="l" t="t" r="r" b="b"/>
            <a:pathLst>
              <a:path w="3161029">
                <a:moveTo>
                  <a:pt x="0" y="0"/>
                </a:moveTo>
                <a:lnTo>
                  <a:pt x="3160913" y="0"/>
                </a:lnTo>
              </a:path>
            </a:pathLst>
          </a:custGeom>
          <a:ln w="6350">
            <a:solidFill>
              <a:srgbClr val="9CD8F1"/>
            </a:solidFill>
            <a:prstDash val="sysDot"/>
          </a:ln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8" name="object 8"/>
          <p:cNvSpPr/>
          <p:nvPr/>
        </p:nvSpPr>
        <p:spPr>
          <a:xfrm>
            <a:off x="3256510" y="2540734"/>
            <a:ext cx="8079105" cy="0"/>
          </a:xfrm>
          <a:custGeom>
            <a:avLst/>
            <a:gdLst/>
            <a:ahLst/>
            <a:cxnLst/>
            <a:rect l="l" t="t" r="r" b="b"/>
            <a:pathLst>
              <a:path w="10772140">
                <a:moveTo>
                  <a:pt x="0" y="0"/>
                </a:moveTo>
                <a:lnTo>
                  <a:pt x="10771850" y="0"/>
                </a:lnTo>
              </a:path>
            </a:pathLst>
          </a:custGeom>
          <a:ln w="6349">
            <a:solidFill>
              <a:srgbClr val="9CD8F1"/>
            </a:solidFill>
          </a:ln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9" name="object 9"/>
          <p:cNvSpPr/>
          <p:nvPr/>
        </p:nvSpPr>
        <p:spPr>
          <a:xfrm>
            <a:off x="3256510" y="3109793"/>
            <a:ext cx="8079105" cy="0"/>
          </a:xfrm>
          <a:custGeom>
            <a:avLst/>
            <a:gdLst/>
            <a:ahLst/>
            <a:cxnLst/>
            <a:rect l="l" t="t" r="r" b="b"/>
            <a:pathLst>
              <a:path w="10772140">
                <a:moveTo>
                  <a:pt x="0" y="0"/>
                </a:moveTo>
                <a:lnTo>
                  <a:pt x="10771850" y="0"/>
                </a:lnTo>
              </a:path>
            </a:pathLst>
          </a:custGeom>
          <a:ln w="6350">
            <a:solidFill>
              <a:srgbClr val="9CD8F1"/>
            </a:solidFill>
          </a:ln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10" name="object 10"/>
          <p:cNvSpPr/>
          <p:nvPr/>
        </p:nvSpPr>
        <p:spPr>
          <a:xfrm>
            <a:off x="885825" y="3678853"/>
            <a:ext cx="10449877" cy="0"/>
          </a:xfrm>
          <a:custGeom>
            <a:avLst/>
            <a:gdLst/>
            <a:ahLst/>
            <a:cxnLst/>
            <a:rect l="l" t="t" r="r" b="b"/>
            <a:pathLst>
              <a:path w="13933169">
                <a:moveTo>
                  <a:pt x="0" y="0"/>
                </a:moveTo>
                <a:lnTo>
                  <a:pt x="13932763" y="0"/>
                </a:lnTo>
              </a:path>
            </a:pathLst>
          </a:custGeom>
          <a:ln w="6350">
            <a:solidFill>
              <a:srgbClr val="9CD8F1"/>
            </a:solidFill>
            <a:prstDash val="sysDot"/>
          </a:ln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11" name="object 11"/>
          <p:cNvSpPr/>
          <p:nvPr/>
        </p:nvSpPr>
        <p:spPr>
          <a:xfrm>
            <a:off x="885825" y="4247912"/>
            <a:ext cx="10449877" cy="0"/>
          </a:xfrm>
          <a:custGeom>
            <a:avLst/>
            <a:gdLst/>
            <a:ahLst/>
            <a:cxnLst/>
            <a:rect l="l" t="t" r="r" b="b"/>
            <a:pathLst>
              <a:path w="13933169">
                <a:moveTo>
                  <a:pt x="0" y="0"/>
                </a:moveTo>
                <a:lnTo>
                  <a:pt x="13932763" y="0"/>
                </a:lnTo>
              </a:path>
            </a:pathLst>
          </a:custGeom>
          <a:ln w="6350">
            <a:solidFill>
              <a:srgbClr val="9CD8F1"/>
            </a:solidFill>
            <a:prstDash val="sysDot"/>
          </a:ln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12" name="object 12"/>
          <p:cNvSpPr/>
          <p:nvPr/>
        </p:nvSpPr>
        <p:spPr>
          <a:xfrm>
            <a:off x="885825" y="4816971"/>
            <a:ext cx="10449877" cy="0"/>
          </a:xfrm>
          <a:custGeom>
            <a:avLst/>
            <a:gdLst/>
            <a:ahLst/>
            <a:cxnLst/>
            <a:rect l="l" t="t" r="r" b="b"/>
            <a:pathLst>
              <a:path w="13933169">
                <a:moveTo>
                  <a:pt x="0" y="0"/>
                </a:moveTo>
                <a:lnTo>
                  <a:pt x="13932763" y="0"/>
                </a:lnTo>
              </a:path>
            </a:pathLst>
          </a:custGeom>
          <a:ln w="6350">
            <a:solidFill>
              <a:srgbClr val="9CD8F1"/>
            </a:solidFill>
            <a:prstDash val="sysDot"/>
          </a:ln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13" name="object 13"/>
          <p:cNvSpPr/>
          <p:nvPr/>
        </p:nvSpPr>
        <p:spPr>
          <a:xfrm>
            <a:off x="28277" y="0"/>
            <a:ext cx="0" cy="1130618"/>
          </a:xfrm>
          <a:custGeom>
            <a:avLst/>
            <a:gdLst/>
            <a:ahLst/>
            <a:cxnLst/>
            <a:rect l="l" t="t" r="r" b="b"/>
            <a:pathLst>
              <a:path h="1507490">
                <a:moveTo>
                  <a:pt x="0" y="0"/>
                </a:moveTo>
                <a:lnTo>
                  <a:pt x="0" y="1507068"/>
                </a:lnTo>
              </a:path>
            </a:pathLst>
          </a:custGeom>
          <a:ln w="75409">
            <a:solidFill>
              <a:srgbClr val="0554FA"/>
            </a:solidFill>
          </a:ln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14" name="object 14"/>
          <p:cNvSpPr txBox="1">
            <a:spLocks noGrp="1"/>
          </p:cNvSpPr>
          <p:nvPr>
            <p:ph type="title"/>
          </p:nvPr>
        </p:nvSpPr>
        <p:spPr>
          <a:xfrm>
            <a:off x="590550" y="630520"/>
            <a:ext cx="4678204" cy="598241"/>
          </a:xfrm>
          <a:prstGeom prst="rect">
            <a:avLst/>
          </a:prstGeom>
        </p:spPr>
        <p:txBody>
          <a:bodyPr vert="horz" wrap="square" lIns="0" tIns="9525" rIns="0" bIns="0" rtlCol="0" anchor="ctr">
            <a:spAutoFit/>
          </a:bodyPr>
          <a:lstStyle/>
          <a:p>
            <a:pPr marL="9525">
              <a:lnSpc>
                <a:spcPct val="100000"/>
              </a:lnSpc>
              <a:spcBef>
                <a:spcPts val="75"/>
              </a:spcBef>
            </a:pPr>
            <a:r>
              <a:rPr sz="3825" b="0" spc="195" dirty="0">
                <a:solidFill>
                  <a:srgbClr val="FFFFFF"/>
                </a:solidFill>
                <a:latin typeface="Calibri"/>
                <a:cs typeface="Calibri"/>
              </a:rPr>
              <a:t>¿Existen</a:t>
            </a:r>
            <a:r>
              <a:rPr sz="3825" b="0" spc="184" dirty="0">
                <a:solidFill>
                  <a:srgbClr val="FFFFFF"/>
                </a:solidFill>
                <a:latin typeface="Calibri"/>
                <a:cs typeface="Calibri"/>
              </a:rPr>
              <a:t> </a:t>
            </a:r>
            <a:r>
              <a:rPr sz="3825" b="0" spc="83" dirty="0">
                <a:solidFill>
                  <a:srgbClr val="FFFFFF"/>
                </a:solidFill>
                <a:latin typeface="Calibri"/>
                <a:cs typeface="Calibri"/>
              </a:rPr>
              <a:t>alternativas?</a:t>
            </a:r>
            <a:endParaRPr sz="3825" dirty="0">
              <a:latin typeface="Calibri"/>
              <a:cs typeface="Calibri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857251" y="2095500"/>
            <a:ext cx="1288256" cy="263534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1650" b="1" spc="-71" dirty="0">
                <a:solidFill>
                  <a:srgbClr val="41BAE6"/>
                </a:solidFill>
                <a:latin typeface="Lucida Sans"/>
                <a:cs typeface="Lucida Sans"/>
              </a:rPr>
              <a:t>Combustible</a:t>
            </a:r>
            <a:endParaRPr sz="1650">
              <a:latin typeface="Lucida Sans"/>
              <a:cs typeface="Lucida Sans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857250" y="2790825"/>
            <a:ext cx="1164908" cy="263534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1650" b="1" spc="-38" dirty="0">
                <a:solidFill>
                  <a:srgbClr val="41BAE6"/>
                </a:solidFill>
                <a:latin typeface="Lucida Sans"/>
                <a:cs typeface="Lucida Sans"/>
              </a:rPr>
              <a:t>Gas</a:t>
            </a:r>
            <a:r>
              <a:rPr sz="1650" b="1" spc="-113" dirty="0">
                <a:solidFill>
                  <a:srgbClr val="41BAE6"/>
                </a:solidFill>
                <a:latin typeface="Lucida Sans"/>
                <a:cs typeface="Lucida Sans"/>
              </a:rPr>
              <a:t> </a:t>
            </a:r>
            <a:r>
              <a:rPr sz="1650" b="1" spc="-79" dirty="0">
                <a:solidFill>
                  <a:srgbClr val="41BAE6"/>
                </a:solidFill>
                <a:latin typeface="Lucida Sans"/>
                <a:cs typeface="Lucida Sans"/>
              </a:rPr>
              <a:t>natural</a:t>
            </a:r>
            <a:endParaRPr sz="1650">
              <a:latin typeface="Lucida Sans"/>
              <a:cs typeface="Lucida Sans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857250" y="3762376"/>
            <a:ext cx="1684020" cy="1448473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1650" b="1" spc="-68" dirty="0">
                <a:solidFill>
                  <a:srgbClr val="41BAE6"/>
                </a:solidFill>
                <a:latin typeface="Lucida Sans"/>
                <a:cs typeface="Lucida Sans"/>
              </a:rPr>
              <a:t>Electricidad</a:t>
            </a:r>
            <a:endParaRPr sz="1650">
              <a:latin typeface="Lucida Sans"/>
              <a:cs typeface="Lucida Sans"/>
            </a:endParaRPr>
          </a:p>
          <a:p>
            <a:pPr>
              <a:lnSpc>
                <a:spcPct val="100000"/>
              </a:lnSpc>
            </a:pPr>
            <a:endParaRPr>
              <a:latin typeface="Times New Roman"/>
              <a:cs typeface="Times New Roman"/>
            </a:endParaRPr>
          </a:p>
          <a:p>
            <a:pPr marL="9525">
              <a:lnSpc>
                <a:spcPts val="1815"/>
              </a:lnSpc>
            </a:pPr>
            <a:r>
              <a:rPr sz="1650" b="1" spc="-60" dirty="0">
                <a:solidFill>
                  <a:srgbClr val="41BAE6"/>
                </a:solidFill>
                <a:latin typeface="Lucida Sans"/>
                <a:cs typeface="Lucida Sans"/>
              </a:rPr>
              <a:t>Biocombustibles</a:t>
            </a:r>
            <a:endParaRPr sz="1650">
              <a:latin typeface="Lucida Sans"/>
              <a:cs typeface="Lucida Sans"/>
            </a:endParaRPr>
          </a:p>
          <a:p>
            <a:pPr marL="9525">
              <a:lnSpc>
                <a:spcPts val="1725"/>
              </a:lnSpc>
            </a:pPr>
            <a:r>
              <a:rPr sz="1575" spc="23" dirty="0">
                <a:solidFill>
                  <a:srgbClr val="41BAE6"/>
                </a:solidFill>
                <a:latin typeface="Calibri"/>
                <a:cs typeface="Calibri"/>
              </a:rPr>
              <a:t>(líquidos)</a:t>
            </a:r>
            <a:endParaRPr sz="1575">
              <a:latin typeface="Calibri"/>
              <a:cs typeface="Calibri"/>
            </a:endParaRPr>
          </a:p>
          <a:p>
            <a:pPr marL="9525">
              <a:spcBef>
                <a:spcPts val="1635"/>
              </a:spcBef>
            </a:pPr>
            <a:r>
              <a:rPr sz="1650" b="1" spc="-83" dirty="0">
                <a:solidFill>
                  <a:srgbClr val="41BAE6"/>
                </a:solidFill>
                <a:latin typeface="Lucida Sans"/>
                <a:cs typeface="Lucida Sans"/>
              </a:rPr>
              <a:t>Hidrógeno</a:t>
            </a:r>
            <a:endParaRPr sz="1650">
              <a:latin typeface="Lucida Sans"/>
              <a:cs typeface="Lucida Sans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2327749" y="2633455"/>
            <a:ext cx="852488" cy="268343"/>
          </a:xfrm>
          <a:prstGeom prst="rect">
            <a:avLst/>
          </a:prstGeom>
          <a:ln w="9525">
            <a:solidFill>
              <a:srgbClr val="41BAE6"/>
            </a:solidFill>
          </a:ln>
        </p:spPr>
        <p:txBody>
          <a:bodyPr vert="horz" wrap="square" lIns="0" tIns="14288" rIns="0" bIns="0" rtlCol="0">
            <a:spAutoFit/>
          </a:bodyPr>
          <a:lstStyle/>
          <a:p>
            <a:pPr marL="186690">
              <a:spcBef>
                <a:spcPts val="113"/>
              </a:spcBef>
            </a:pPr>
            <a:r>
              <a:rPr sz="1650" b="1" spc="8" dirty="0">
                <a:solidFill>
                  <a:srgbClr val="FFFFFF"/>
                </a:solidFill>
                <a:latin typeface="Lucida Sans"/>
                <a:cs typeface="Lucida Sans"/>
              </a:rPr>
              <a:t>GNL</a:t>
            </a:r>
            <a:endParaRPr sz="1650">
              <a:latin typeface="Lucida Sans"/>
              <a:cs typeface="Lucida Sans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2327749" y="3222737"/>
            <a:ext cx="852488" cy="279403"/>
          </a:xfrm>
          <a:prstGeom prst="rect">
            <a:avLst/>
          </a:prstGeom>
          <a:ln w="9525">
            <a:solidFill>
              <a:srgbClr val="41BAE6"/>
            </a:solidFill>
          </a:ln>
        </p:spPr>
        <p:txBody>
          <a:bodyPr vert="horz" wrap="square" lIns="0" tIns="25241" rIns="0" bIns="0" rtlCol="0">
            <a:spAutoFit/>
          </a:bodyPr>
          <a:lstStyle/>
          <a:p>
            <a:pPr marL="186690">
              <a:spcBef>
                <a:spcPts val="199"/>
              </a:spcBef>
            </a:pPr>
            <a:r>
              <a:rPr sz="1650" b="1" spc="-4" dirty="0">
                <a:solidFill>
                  <a:srgbClr val="FFFFFF"/>
                </a:solidFill>
                <a:latin typeface="Lucida Sans"/>
                <a:cs typeface="Lucida Sans"/>
              </a:rPr>
              <a:t>GNC</a:t>
            </a:r>
            <a:endParaRPr sz="1650">
              <a:latin typeface="Lucida Sans"/>
              <a:cs typeface="Lucida Sans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3972059" y="1453284"/>
            <a:ext cx="714375" cy="714375"/>
          </a:xfrm>
          <a:custGeom>
            <a:avLst/>
            <a:gdLst/>
            <a:ahLst/>
            <a:cxnLst/>
            <a:rect l="l" t="t" r="r" b="b"/>
            <a:pathLst>
              <a:path w="952500" h="952500">
                <a:moveTo>
                  <a:pt x="476167" y="0"/>
                </a:moveTo>
                <a:lnTo>
                  <a:pt x="430525" y="2179"/>
                </a:lnTo>
                <a:lnTo>
                  <a:pt x="385222" y="8716"/>
                </a:lnTo>
                <a:lnTo>
                  <a:pt x="340595" y="19612"/>
                </a:lnTo>
                <a:lnTo>
                  <a:pt x="296984" y="34866"/>
                </a:lnTo>
                <a:lnTo>
                  <a:pt x="254727" y="54478"/>
                </a:lnTo>
                <a:lnTo>
                  <a:pt x="214163" y="78449"/>
                </a:lnTo>
                <a:lnTo>
                  <a:pt x="175630" y="106778"/>
                </a:lnTo>
                <a:lnTo>
                  <a:pt x="139466" y="139466"/>
                </a:lnTo>
                <a:lnTo>
                  <a:pt x="106778" y="175630"/>
                </a:lnTo>
                <a:lnTo>
                  <a:pt x="78449" y="214163"/>
                </a:lnTo>
                <a:lnTo>
                  <a:pt x="54478" y="254727"/>
                </a:lnTo>
                <a:lnTo>
                  <a:pt x="34866" y="296984"/>
                </a:lnTo>
                <a:lnTo>
                  <a:pt x="19612" y="340595"/>
                </a:lnTo>
                <a:lnTo>
                  <a:pt x="8716" y="385222"/>
                </a:lnTo>
                <a:lnTo>
                  <a:pt x="2179" y="430525"/>
                </a:lnTo>
                <a:lnTo>
                  <a:pt x="0" y="476167"/>
                </a:lnTo>
                <a:lnTo>
                  <a:pt x="2179" y="521808"/>
                </a:lnTo>
                <a:lnTo>
                  <a:pt x="8716" y="567112"/>
                </a:lnTo>
                <a:lnTo>
                  <a:pt x="19612" y="611738"/>
                </a:lnTo>
                <a:lnTo>
                  <a:pt x="34866" y="655349"/>
                </a:lnTo>
                <a:lnTo>
                  <a:pt x="54478" y="697606"/>
                </a:lnTo>
                <a:lnTo>
                  <a:pt x="78449" y="738170"/>
                </a:lnTo>
                <a:lnTo>
                  <a:pt x="106778" y="776704"/>
                </a:lnTo>
                <a:lnTo>
                  <a:pt x="139466" y="812868"/>
                </a:lnTo>
                <a:lnTo>
                  <a:pt x="175630" y="845555"/>
                </a:lnTo>
                <a:lnTo>
                  <a:pt x="214163" y="873884"/>
                </a:lnTo>
                <a:lnTo>
                  <a:pt x="254727" y="897855"/>
                </a:lnTo>
                <a:lnTo>
                  <a:pt x="296984" y="917467"/>
                </a:lnTo>
                <a:lnTo>
                  <a:pt x="340595" y="932721"/>
                </a:lnTo>
                <a:lnTo>
                  <a:pt x="385222" y="943617"/>
                </a:lnTo>
                <a:lnTo>
                  <a:pt x="430525" y="950155"/>
                </a:lnTo>
                <a:lnTo>
                  <a:pt x="476167" y="952334"/>
                </a:lnTo>
                <a:lnTo>
                  <a:pt x="521808" y="950155"/>
                </a:lnTo>
                <a:lnTo>
                  <a:pt x="567112" y="943617"/>
                </a:lnTo>
                <a:lnTo>
                  <a:pt x="611738" y="932721"/>
                </a:lnTo>
                <a:lnTo>
                  <a:pt x="655349" y="917467"/>
                </a:lnTo>
                <a:lnTo>
                  <a:pt x="697606" y="897855"/>
                </a:lnTo>
                <a:lnTo>
                  <a:pt x="738170" y="873884"/>
                </a:lnTo>
                <a:lnTo>
                  <a:pt x="776704" y="845555"/>
                </a:lnTo>
                <a:lnTo>
                  <a:pt x="812868" y="812868"/>
                </a:lnTo>
                <a:lnTo>
                  <a:pt x="845555" y="776704"/>
                </a:lnTo>
                <a:lnTo>
                  <a:pt x="873884" y="738170"/>
                </a:lnTo>
                <a:lnTo>
                  <a:pt x="897855" y="697606"/>
                </a:lnTo>
                <a:lnTo>
                  <a:pt x="917467" y="655349"/>
                </a:lnTo>
                <a:lnTo>
                  <a:pt x="932721" y="611738"/>
                </a:lnTo>
                <a:lnTo>
                  <a:pt x="943617" y="567112"/>
                </a:lnTo>
                <a:lnTo>
                  <a:pt x="950155" y="521808"/>
                </a:lnTo>
                <a:lnTo>
                  <a:pt x="952334" y="476167"/>
                </a:lnTo>
                <a:lnTo>
                  <a:pt x="950155" y="430525"/>
                </a:lnTo>
                <a:lnTo>
                  <a:pt x="943617" y="385222"/>
                </a:lnTo>
                <a:lnTo>
                  <a:pt x="932721" y="340595"/>
                </a:lnTo>
                <a:lnTo>
                  <a:pt x="917467" y="296984"/>
                </a:lnTo>
                <a:lnTo>
                  <a:pt x="897855" y="254727"/>
                </a:lnTo>
                <a:lnTo>
                  <a:pt x="873884" y="214163"/>
                </a:lnTo>
                <a:lnTo>
                  <a:pt x="845555" y="175630"/>
                </a:lnTo>
                <a:lnTo>
                  <a:pt x="812868" y="139466"/>
                </a:lnTo>
                <a:lnTo>
                  <a:pt x="776704" y="106778"/>
                </a:lnTo>
                <a:lnTo>
                  <a:pt x="738170" y="78449"/>
                </a:lnTo>
                <a:lnTo>
                  <a:pt x="697606" y="54478"/>
                </a:lnTo>
                <a:lnTo>
                  <a:pt x="655349" y="34866"/>
                </a:lnTo>
                <a:lnTo>
                  <a:pt x="611738" y="19612"/>
                </a:lnTo>
                <a:lnTo>
                  <a:pt x="567112" y="8716"/>
                </a:lnTo>
                <a:lnTo>
                  <a:pt x="521808" y="2179"/>
                </a:lnTo>
                <a:lnTo>
                  <a:pt x="47616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21" name="object 21"/>
          <p:cNvSpPr/>
          <p:nvPr/>
        </p:nvSpPr>
        <p:spPr>
          <a:xfrm>
            <a:off x="4201916" y="1710981"/>
            <a:ext cx="254794" cy="87154"/>
          </a:xfrm>
          <a:custGeom>
            <a:avLst/>
            <a:gdLst/>
            <a:ahLst/>
            <a:cxnLst/>
            <a:rect l="l" t="t" r="r" b="b"/>
            <a:pathLst>
              <a:path w="339725" h="116205">
                <a:moveTo>
                  <a:pt x="261955" y="0"/>
                </a:moveTo>
                <a:lnTo>
                  <a:pt x="77236" y="0"/>
                </a:lnTo>
                <a:lnTo>
                  <a:pt x="70037" y="3046"/>
                </a:lnTo>
                <a:lnTo>
                  <a:pt x="8158" y="66412"/>
                </a:lnTo>
                <a:lnTo>
                  <a:pt x="3172" y="73318"/>
                </a:lnTo>
                <a:lnTo>
                  <a:pt x="417" y="81243"/>
                </a:lnTo>
                <a:lnTo>
                  <a:pt x="0" y="89643"/>
                </a:lnTo>
                <a:lnTo>
                  <a:pt x="2026" y="97975"/>
                </a:lnTo>
                <a:lnTo>
                  <a:pt x="6349" y="105340"/>
                </a:lnTo>
                <a:lnTo>
                  <a:pt x="12448" y="110982"/>
                </a:lnTo>
                <a:lnTo>
                  <a:pt x="19870" y="114592"/>
                </a:lnTo>
                <a:lnTo>
                  <a:pt x="28163" y="115864"/>
                </a:lnTo>
                <a:lnTo>
                  <a:pt x="311255" y="115864"/>
                </a:lnTo>
                <a:lnTo>
                  <a:pt x="322265" y="113588"/>
                </a:lnTo>
                <a:lnTo>
                  <a:pt x="331256" y="107381"/>
                </a:lnTo>
                <a:lnTo>
                  <a:pt x="337317" y="98174"/>
                </a:lnTo>
                <a:lnTo>
                  <a:pt x="339540" y="86898"/>
                </a:lnTo>
                <a:lnTo>
                  <a:pt x="339540" y="77792"/>
                </a:lnTo>
                <a:lnTo>
                  <a:pt x="335432" y="69658"/>
                </a:lnTo>
                <a:lnTo>
                  <a:pt x="329007" y="64350"/>
                </a:lnTo>
                <a:lnTo>
                  <a:pt x="269153" y="3046"/>
                </a:lnTo>
                <a:lnTo>
                  <a:pt x="261955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22" name="object 22"/>
          <p:cNvSpPr/>
          <p:nvPr/>
        </p:nvSpPr>
        <p:spPr>
          <a:xfrm>
            <a:off x="4201824" y="1819604"/>
            <a:ext cx="63818" cy="43814"/>
          </a:xfrm>
          <a:custGeom>
            <a:avLst/>
            <a:gdLst/>
            <a:ahLst/>
            <a:cxnLst/>
            <a:rect l="l" t="t" r="r" b="b"/>
            <a:pathLst>
              <a:path w="85089" h="58419">
                <a:moveTo>
                  <a:pt x="56572" y="0"/>
                </a:moveTo>
                <a:lnTo>
                  <a:pt x="28285" y="0"/>
                </a:lnTo>
                <a:lnTo>
                  <a:pt x="17274" y="2275"/>
                </a:lnTo>
                <a:lnTo>
                  <a:pt x="8283" y="8482"/>
                </a:lnTo>
                <a:lnTo>
                  <a:pt x="2222" y="17689"/>
                </a:lnTo>
                <a:lnTo>
                  <a:pt x="0" y="28966"/>
                </a:lnTo>
                <a:lnTo>
                  <a:pt x="2222" y="40242"/>
                </a:lnTo>
                <a:lnTo>
                  <a:pt x="8283" y="49448"/>
                </a:lnTo>
                <a:lnTo>
                  <a:pt x="17274" y="55655"/>
                </a:lnTo>
                <a:lnTo>
                  <a:pt x="28285" y="57931"/>
                </a:lnTo>
                <a:lnTo>
                  <a:pt x="56572" y="57931"/>
                </a:lnTo>
                <a:lnTo>
                  <a:pt x="67584" y="55655"/>
                </a:lnTo>
                <a:lnTo>
                  <a:pt x="76575" y="49448"/>
                </a:lnTo>
                <a:lnTo>
                  <a:pt x="82636" y="40242"/>
                </a:lnTo>
                <a:lnTo>
                  <a:pt x="84858" y="28966"/>
                </a:lnTo>
                <a:lnTo>
                  <a:pt x="82636" y="17689"/>
                </a:lnTo>
                <a:lnTo>
                  <a:pt x="76575" y="8482"/>
                </a:lnTo>
                <a:lnTo>
                  <a:pt x="67584" y="2275"/>
                </a:lnTo>
                <a:lnTo>
                  <a:pt x="56572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23" name="object 23"/>
          <p:cNvSpPr/>
          <p:nvPr/>
        </p:nvSpPr>
        <p:spPr>
          <a:xfrm>
            <a:off x="4392756" y="1819604"/>
            <a:ext cx="63818" cy="43814"/>
          </a:xfrm>
          <a:custGeom>
            <a:avLst/>
            <a:gdLst/>
            <a:ahLst/>
            <a:cxnLst/>
            <a:rect l="l" t="t" r="r" b="b"/>
            <a:pathLst>
              <a:path w="85089" h="58419">
                <a:moveTo>
                  <a:pt x="56573" y="0"/>
                </a:moveTo>
                <a:lnTo>
                  <a:pt x="28286" y="0"/>
                </a:lnTo>
                <a:lnTo>
                  <a:pt x="17274" y="2275"/>
                </a:lnTo>
                <a:lnTo>
                  <a:pt x="8283" y="8482"/>
                </a:lnTo>
                <a:lnTo>
                  <a:pt x="2222" y="17689"/>
                </a:lnTo>
                <a:lnTo>
                  <a:pt x="0" y="28966"/>
                </a:lnTo>
                <a:lnTo>
                  <a:pt x="2222" y="40242"/>
                </a:lnTo>
                <a:lnTo>
                  <a:pt x="8283" y="49448"/>
                </a:lnTo>
                <a:lnTo>
                  <a:pt x="17274" y="55655"/>
                </a:lnTo>
                <a:lnTo>
                  <a:pt x="28286" y="57931"/>
                </a:lnTo>
                <a:lnTo>
                  <a:pt x="56573" y="57931"/>
                </a:lnTo>
                <a:lnTo>
                  <a:pt x="67584" y="55655"/>
                </a:lnTo>
                <a:lnTo>
                  <a:pt x="76575" y="49448"/>
                </a:lnTo>
                <a:lnTo>
                  <a:pt x="82636" y="40242"/>
                </a:lnTo>
                <a:lnTo>
                  <a:pt x="84858" y="28966"/>
                </a:lnTo>
                <a:lnTo>
                  <a:pt x="82636" y="17689"/>
                </a:lnTo>
                <a:lnTo>
                  <a:pt x="76575" y="8482"/>
                </a:lnTo>
                <a:lnTo>
                  <a:pt x="67584" y="2275"/>
                </a:lnTo>
                <a:lnTo>
                  <a:pt x="5657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24" name="object 24"/>
          <p:cNvSpPr/>
          <p:nvPr/>
        </p:nvSpPr>
        <p:spPr>
          <a:xfrm>
            <a:off x="4095750" y="1645808"/>
            <a:ext cx="466725" cy="326231"/>
          </a:xfrm>
          <a:custGeom>
            <a:avLst/>
            <a:gdLst/>
            <a:ahLst/>
            <a:cxnLst/>
            <a:rect l="l" t="t" r="r" b="b"/>
            <a:pathLst>
              <a:path w="622300" h="434975">
                <a:moveTo>
                  <a:pt x="431796" y="0"/>
                </a:moveTo>
                <a:lnTo>
                  <a:pt x="190503" y="0"/>
                </a:lnTo>
                <a:lnTo>
                  <a:pt x="183305" y="3046"/>
                </a:lnTo>
                <a:lnTo>
                  <a:pt x="59547" y="129778"/>
                </a:lnTo>
                <a:lnTo>
                  <a:pt x="56572" y="137148"/>
                </a:lnTo>
                <a:lnTo>
                  <a:pt x="56572" y="173795"/>
                </a:lnTo>
                <a:lnTo>
                  <a:pt x="28286" y="173795"/>
                </a:lnTo>
                <a:lnTo>
                  <a:pt x="17274" y="176071"/>
                </a:lnTo>
                <a:lnTo>
                  <a:pt x="8283" y="182278"/>
                </a:lnTo>
                <a:lnTo>
                  <a:pt x="2222" y="191485"/>
                </a:lnTo>
                <a:lnTo>
                  <a:pt x="0" y="202761"/>
                </a:lnTo>
                <a:lnTo>
                  <a:pt x="2222" y="214038"/>
                </a:lnTo>
                <a:lnTo>
                  <a:pt x="8283" y="223245"/>
                </a:lnTo>
                <a:lnTo>
                  <a:pt x="17274" y="229452"/>
                </a:lnTo>
                <a:lnTo>
                  <a:pt x="28286" y="231728"/>
                </a:lnTo>
                <a:lnTo>
                  <a:pt x="56572" y="231728"/>
                </a:lnTo>
                <a:lnTo>
                  <a:pt x="56572" y="405524"/>
                </a:lnTo>
                <a:lnTo>
                  <a:pt x="58794" y="416801"/>
                </a:lnTo>
                <a:lnTo>
                  <a:pt x="64855" y="426008"/>
                </a:lnTo>
                <a:lnTo>
                  <a:pt x="73846" y="432215"/>
                </a:lnTo>
                <a:lnTo>
                  <a:pt x="84858" y="434491"/>
                </a:lnTo>
                <a:lnTo>
                  <a:pt x="169717" y="434491"/>
                </a:lnTo>
                <a:lnTo>
                  <a:pt x="180729" y="432215"/>
                </a:lnTo>
                <a:lnTo>
                  <a:pt x="189720" y="426008"/>
                </a:lnTo>
                <a:lnTo>
                  <a:pt x="195782" y="416801"/>
                </a:lnTo>
                <a:lnTo>
                  <a:pt x="198004" y="405524"/>
                </a:lnTo>
                <a:lnTo>
                  <a:pt x="198004" y="376558"/>
                </a:lnTo>
                <a:lnTo>
                  <a:pt x="113145" y="376558"/>
                </a:lnTo>
                <a:lnTo>
                  <a:pt x="113145" y="156833"/>
                </a:lnTo>
                <a:lnTo>
                  <a:pt x="209725" y="57932"/>
                </a:lnTo>
                <a:lnTo>
                  <a:pt x="492592" y="57932"/>
                </a:lnTo>
                <a:lnTo>
                  <a:pt x="438994" y="3046"/>
                </a:lnTo>
                <a:lnTo>
                  <a:pt x="431796" y="0"/>
                </a:lnTo>
                <a:close/>
              </a:path>
              <a:path w="622300" h="434975">
                <a:moveTo>
                  <a:pt x="492592" y="57932"/>
                </a:moveTo>
                <a:lnTo>
                  <a:pt x="412584" y="57932"/>
                </a:lnTo>
                <a:lnTo>
                  <a:pt x="509164" y="156833"/>
                </a:lnTo>
                <a:lnTo>
                  <a:pt x="509164" y="376558"/>
                </a:lnTo>
                <a:lnTo>
                  <a:pt x="424295" y="376558"/>
                </a:lnTo>
                <a:lnTo>
                  <a:pt x="424295" y="405524"/>
                </a:lnTo>
                <a:lnTo>
                  <a:pt x="426517" y="416801"/>
                </a:lnTo>
                <a:lnTo>
                  <a:pt x="432579" y="426008"/>
                </a:lnTo>
                <a:lnTo>
                  <a:pt x="441570" y="432215"/>
                </a:lnTo>
                <a:lnTo>
                  <a:pt x="452582" y="434491"/>
                </a:lnTo>
                <a:lnTo>
                  <a:pt x="537441" y="434491"/>
                </a:lnTo>
                <a:lnTo>
                  <a:pt x="548453" y="432215"/>
                </a:lnTo>
                <a:lnTo>
                  <a:pt x="557444" y="426008"/>
                </a:lnTo>
                <a:lnTo>
                  <a:pt x="563505" y="416801"/>
                </a:lnTo>
                <a:lnTo>
                  <a:pt x="565727" y="405524"/>
                </a:lnTo>
                <a:lnTo>
                  <a:pt x="565727" y="231728"/>
                </a:lnTo>
                <a:lnTo>
                  <a:pt x="594013" y="231728"/>
                </a:lnTo>
                <a:lnTo>
                  <a:pt x="605025" y="229452"/>
                </a:lnTo>
                <a:lnTo>
                  <a:pt x="614016" y="223245"/>
                </a:lnTo>
                <a:lnTo>
                  <a:pt x="620077" y="214038"/>
                </a:lnTo>
                <a:lnTo>
                  <a:pt x="622300" y="202761"/>
                </a:lnTo>
                <a:lnTo>
                  <a:pt x="620077" y="191485"/>
                </a:lnTo>
                <a:lnTo>
                  <a:pt x="614016" y="182278"/>
                </a:lnTo>
                <a:lnTo>
                  <a:pt x="605025" y="176071"/>
                </a:lnTo>
                <a:lnTo>
                  <a:pt x="594013" y="173795"/>
                </a:lnTo>
                <a:lnTo>
                  <a:pt x="565727" y="173795"/>
                </a:lnTo>
                <a:lnTo>
                  <a:pt x="565727" y="137148"/>
                </a:lnTo>
                <a:lnTo>
                  <a:pt x="562752" y="129778"/>
                </a:lnTo>
                <a:lnTo>
                  <a:pt x="492592" y="57932"/>
                </a:lnTo>
                <a:close/>
              </a:path>
              <a:path w="622300" h="434975">
                <a:moveTo>
                  <a:pt x="452582" y="318626"/>
                </a:moveTo>
                <a:lnTo>
                  <a:pt x="169717" y="318626"/>
                </a:lnTo>
                <a:lnTo>
                  <a:pt x="158706" y="320902"/>
                </a:lnTo>
                <a:lnTo>
                  <a:pt x="149715" y="327109"/>
                </a:lnTo>
                <a:lnTo>
                  <a:pt x="143654" y="336316"/>
                </a:lnTo>
                <a:lnTo>
                  <a:pt x="141432" y="347592"/>
                </a:lnTo>
                <a:lnTo>
                  <a:pt x="141432" y="376558"/>
                </a:lnTo>
                <a:lnTo>
                  <a:pt x="480867" y="376558"/>
                </a:lnTo>
                <a:lnTo>
                  <a:pt x="480867" y="347592"/>
                </a:lnTo>
                <a:lnTo>
                  <a:pt x="478645" y="336316"/>
                </a:lnTo>
                <a:lnTo>
                  <a:pt x="472584" y="327109"/>
                </a:lnTo>
                <a:lnTo>
                  <a:pt x="463593" y="320902"/>
                </a:lnTo>
                <a:lnTo>
                  <a:pt x="452582" y="31862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25" name="object 25"/>
          <p:cNvSpPr/>
          <p:nvPr/>
        </p:nvSpPr>
        <p:spPr>
          <a:xfrm>
            <a:off x="4341235" y="1609726"/>
            <a:ext cx="63818" cy="43814"/>
          </a:xfrm>
          <a:custGeom>
            <a:avLst/>
            <a:gdLst/>
            <a:ahLst/>
            <a:cxnLst/>
            <a:rect l="l" t="t" r="r" b="b"/>
            <a:pathLst>
              <a:path w="85089" h="58419">
                <a:moveTo>
                  <a:pt x="56573" y="0"/>
                </a:moveTo>
                <a:lnTo>
                  <a:pt x="28286" y="0"/>
                </a:lnTo>
                <a:lnTo>
                  <a:pt x="17274" y="2275"/>
                </a:lnTo>
                <a:lnTo>
                  <a:pt x="8283" y="8482"/>
                </a:lnTo>
                <a:lnTo>
                  <a:pt x="2222" y="17689"/>
                </a:lnTo>
                <a:lnTo>
                  <a:pt x="0" y="28966"/>
                </a:lnTo>
                <a:lnTo>
                  <a:pt x="2222" y="40242"/>
                </a:lnTo>
                <a:lnTo>
                  <a:pt x="8283" y="49449"/>
                </a:lnTo>
                <a:lnTo>
                  <a:pt x="17274" y="55656"/>
                </a:lnTo>
                <a:lnTo>
                  <a:pt x="28286" y="57932"/>
                </a:lnTo>
                <a:lnTo>
                  <a:pt x="56573" y="57932"/>
                </a:lnTo>
                <a:lnTo>
                  <a:pt x="67584" y="55656"/>
                </a:lnTo>
                <a:lnTo>
                  <a:pt x="76575" y="49449"/>
                </a:lnTo>
                <a:lnTo>
                  <a:pt x="82636" y="40242"/>
                </a:lnTo>
                <a:lnTo>
                  <a:pt x="84858" y="28966"/>
                </a:lnTo>
                <a:lnTo>
                  <a:pt x="82636" y="17689"/>
                </a:lnTo>
                <a:lnTo>
                  <a:pt x="76575" y="8482"/>
                </a:lnTo>
                <a:lnTo>
                  <a:pt x="67584" y="2275"/>
                </a:lnTo>
                <a:lnTo>
                  <a:pt x="56573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26" name="object 26"/>
          <p:cNvSpPr/>
          <p:nvPr/>
        </p:nvSpPr>
        <p:spPr>
          <a:xfrm>
            <a:off x="6071973" y="1453284"/>
            <a:ext cx="714375" cy="714375"/>
          </a:xfrm>
          <a:custGeom>
            <a:avLst/>
            <a:gdLst/>
            <a:ahLst/>
            <a:cxnLst/>
            <a:rect l="l" t="t" r="r" b="b"/>
            <a:pathLst>
              <a:path w="952500" h="952500">
                <a:moveTo>
                  <a:pt x="476167" y="0"/>
                </a:moveTo>
                <a:lnTo>
                  <a:pt x="430525" y="2179"/>
                </a:lnTo>
                <a:lnTo>
                  <a:pt x="385222" y="8716"/>
                </a:lnTo>
                <a:lnTo>
                  <a:pt x="340595" y="19612"/>
                </a:lnTo>
                <a:lnTo>
                  <a:pt x="296984" y="34866"/>
                </a:lnTo>
                <a:lnTo>
                  <a:pt x="254727" y="54478"/>
                </a:lnTo>
                <a:lnTo>
                  <a:pt x="214163" y="78449"/>
                </a:lnTo>
                <a:lnTo>
                  <a:pt x="175630" y="106778"/>
                </a:lnTo>
                <a:lnTo>
                  <a:pt x="139466" y="139466"/>
                </a:lnTo>
                <a:lnTo>
                  <a:pt x="106778" y="175630"/>
                </a:lnTo>
                <a:lnTo>
                  <a:pt x="78449" y="214163"/>
                </a:lnTo>
                <a:lnTo>
                  <a:pt x="54478" y="254727"/>
                </a:lnTo>
                <a:lnTo>
                  <a:pt x="34866" y="296984"/>
                </a:lnTo>
                <a:lnTo>
                  <a:pt x="19612" y="340595"/>
                </a:lnTo>
                <a:lnTo>
                  <a:pt x="8716" y="385222"/>
                </a:lnTo>
                <a:lnTo>
                  <a:pt x="2179" y="430525"/>
                </a:lnTo>
                <a:lnTo>
                  <a:pt x="0" y="476167"/>
                </a:lnTo>
                <a:lnTo>
                  <a:pt x="2179" y="521808"/>
                </a:lnTo>
                <a:lnTo>
                  <a:pt x="8716" y="567112"/>
                </a:lnTo>
                <a:lnTo>
                  <a:pt x="19612" y="611738"/>
                </a:lnTo>
                <a:lnTo>
                  <a:pt x="34866" y="655349"/>
                </a:lnTo>
                <a:lnTo>
                  <a:pt x="54478" y="697606"/>
                </a:lnTo>
                <a:lnTo>
                  <a:pt x="78449" y="738170"/>
                </a:lnTo>
                <a:lnTo>
                  <a:pt x="106778" y="776704"/>
                </a:lnTo>
                <a:lnTo>
                  <a:pt x="139466" y="812868"/>
                </a:lnTo>
                <a:lnTo>
                  <a:pt x="175630" y="845555"/>
                </a:lnTo>
                <a:lnTo>
                  <a:pt x="214163" y="873884"/>
                </a:lnTo>
                <a:lnTo>
                  <a:pt x="254727" y="897855"/>
                </a:lnTo>
                <a:lnTo>
                  <a:pt x="296984" y="917467"/>
                </a:lnTo>
                <a:lnTo>
                  <a:pt x="340595" y="932721"/>
                </a:lnTo>
                <a:lnTo>
                  <a:pt x="385222" y="943617"/>
                </a:lnTo>
                <a:lnTo>
                  <a:pt x="430525" y="950155"/>
                </a:lnTo>
                <a:lnTo>
                  <a:pt x="476167" y="952334"/>
                </a:lnTo>
                <a:lnTo>
                  <a:pt x="521808" y="950155"/>
                </a:lnTo>
                <a:lnTo>
                  <a:pt x="567112" y="943617"/>
                </a:lnTo>
                <a:lnTo>
                  <a:pt x="611738" y="932721"/>
                </a:lnTo>
                <a:lnTo>
                  <a:pt x="655349" y="917467"/>
                </a:lnTo>
                <a:lnTo>
                  <a:pt x="697606" y="897855"/>
                </a:lnTo>
                <a:lnTo>
                  <a:pt x="738170" y="873884"/>
                </a:lnTo>
                <a:lnTo>
                  <a:pt x="776704" y="845555"/>
                </a:lnTo>
                <a:lnTo>
                  <a:pt x="812868" y="812868"/>
                </a:lnTo>
                <a:lnTo>
                  <a:pt x="845555" y="776704"/>
                </a:lnTo>
                <a:lnTo>
                  <a:pt x="873884" y="738170"/>
                </a:lnTo>
                <a:lnTo>
                  <a:pt x="897855" y="697606"/>
                </a:lnTo>
                <a:lnTo>
                  <a:pt x="917467" y="655349"/>
                </a:lnTo>
                <a:lnTo>
                  <a:pt x="932721" y="611738"/>
                </a:lnTo>
                <a:lnTo>
                  <a:pt x="943617" y="567112"/>
                </a:lnTo>
                <a:lnTo>
                  <a:pt x="950155" y="521808"/>
                </a:lnTo>
                <a:lnTo>
                  <a:pt x="952334" y="476167"/>
                </a:lnTo>
                <a:lnTo>
                  <a:pt x="950155" y="430525"/>
                </a:lnTo>
                <a:lnTo>
                  <a:pt x="943617" y="385222"/>
                </a:lnTo>
                <a:lnTo>
                  <a:pt x="932721" y="340595"/>
                </a:lnTo>
                <a:lnTo>
                  <a:pt x="917467" y="296984"/>
                </a:lnTo>
                <a:lnTo>
                  <a:pt x="897855" y="254727"/>
                </a:lnTo>
                <a:lnTo>
                  <a:pt x="873884" y="214163"/>
                </a:lnTo>
                <a:lnTo>
                  <a:pt x="845555" y="175630"/>
                </a:lnTo>
                <a:lnTo>
                  <a:pt x="812868" y="139466"/>
                </a:lnTo>
                <a:lnTo>
                  <a:pt x="776704" y="106778"/>
                </a:lnTo>
                <a:lnTo>
                  <a:pt x="738170" y="78449"/>
                </a:lnTo>
                <a:lnTo>
                  <a:pt x="697606" y="54478"/>
                </a:lnTo>
                <a:lnTo>
                  <a:pt x="655349" y="34866"/>
                </a:lnTo>
                <a:lnTo>
                  <a:pt x="611738" y="19612"/>
                </a:lnTo>
                <a:lnTo>
                  <a:pt x="567112" y="8716"/>
                </a:lnTo>
                <a:lnTo>
                  <a:pt x="521808" y="2179"/>
                </a:lnTo>
                <a:lnTo>
                  <a:pt x="47616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27" name="object 27"/>
          <p:cNvSpPr/>
          <p:nvPr/>
        </p:nvSpPr>
        <p:spPr>
          <a:xfrm>
            <a:off x="6210300" y="1657350"/>
            <a:ext cx="457200" cy="323850"/>
          </a:xfrm>
          <a:custGeom>
            <a:avLst/>
            <a:gdLst/>
            <a:ahLst/>
            <a:cxnLst/>
            <a:rect l="l" t="t" r="r" b="b"/>
            <a:pathLst>
              <a:path w="609600" h="431800">
                <a:moveTo>
                  <a:pt x="204989" y="383821"/>
                </a:moveTo>
                <a:lnTo>
                  <a:pt x="74331" y="383821"/>
                </a:lnTo>
                <a:lnTo>
                  <a:pt x="84111" y="403058"/>
                </a:lnTo>
                <a:lnTo>
                  <a:pt x="99016" y="418246"/>
                </a:lnTo>
                <a:lnTo>
                  <a:pt x="117912" y="428216"/>
                </a:lnTo>
                <a:lnTo>
                  <a:pt x="139660" y="431800"/>
                </a:lnTo>
                <a:lnTo>
                  <a:pt x="161407" y="428216"/>
                </a:lnTo>
                <a:lnTo>
                  <a:pt x="180301" y="418246"/>
                </a:lnTo>
                <a:lnTo>
                  <a:pt x="195206" y="403058"/>
                </a:lnTo>
                <a:lnTo>
                  <a:pt x="204989" y="383821"/>
                </a:lnTo>
                <a:close/>
              </a:path>
              <a:path w="609600" h="431800">
                <a:moveTo>
                  <a:pt x="535268" y="383821"/>
                </a:moveTo>
                <a:lnTo>
                  <a:pt x="404610" y="383821"/>
                </a:lnTo>
                <a:lnTo>
                  <a:pt x="414389" y="403058"/>
                </a:lnTo>
                <a:lnTo>
                  <a:pt x="429295" y="418246"/>
                </a:lnTo>
                <a:lnTo>
                  <a:pt x="448190" y="428216"/>
                </a:lnTo>
                <a:lnTo>
                  <a:pt x="469939" y="431800"/>
                </a:lnTo>
                <a:lnTo>
                  <a:pt x="491686" y="428216"/>
                </a:lnTo>
                <a:lnTo>
                  <a:pt x="510580" y="418246"/>
                </a:lnTo>
                <a:lnTo>
                  <a:pt x="525485" y="403058"/>
                </a:lnTo>
                <a:lnTo>
                  <a:pt x="535268" y="383821"/>
                </a:lnTo>
                <a:close/>
              </a:path>
              <a:path w="609600" h="431800">
                <a:moveTo>
                  <a:pt x="420869" y="0"/>
                </a:moveTo>
                <a:lnTo>
                  <a:pt x="23591" y="0"/>
                </a:lnTo>
                <a:lnTo>
                  <a:pt x="14407" y="1884"/>
                </a:lnTo>
                <a:lnTo>
                  <a:pt x="6908" y="7024"/>
                </a:lnTo>
                <a:lnTo>
                  <a:pt x="1853" y="14649"/>
                </a:lnTo>
                <a:lnTo>
                  <a:pt x="0" y="23989"/>
                </a:lnTo>
                <a:lnTo>
                  <a:pt x="0" y="359832"/>
                </a:lnTo>
                <a:lnTo>
                  <a:pt x="1853" y="369172"/>
                </a:lnTo>
                <a:lnTo>
                  <a:pt x="6908" y="376797"/>
                </a:lnTo>
                <a:lnTo>
                  <a:pt x="14407" y="381937"/>
                </a:lnTo>
                <a:lnTo>
                  <a:pt x="23591" y="383821"/>
                </a:lnTo>
                <a:lnTo>
                  <a:pt x="139660" y="383821"/>
                </a:lnTo>
                <a:lnTo>
                  <a:pt x="131217" y="382084"/>
                </a:lnTo>
                <a:lnTo>
                  <a:pt x="124317" y="377349"/>
                </a:lnTo>
                <a:lnTo>
                  <a:pt x="119663" y="370333"/>
                </a:lnTo>
                <a:lnTo>
                  <a:pt x="117956" y="361751"/>
                </a:lnTo>
                <a:lnTo>
                  <a:pt x="119664" y="353167"/>
                </a:lnTo>
                <a:lnTo>
                  <a:pt x="124321" y="346151"/>
                </a:lnTo>
                <a:lnTo>
                  <a:pt x="131221" y="341419"/>
                </a:lnTo>
                <a:lnTo>
                  <a:pt x="139660" y="339683"/>
                </a:lnTo>
                <a:lnTo>
                  <a:pt x="609600" y="339683"/>
                </a:lnTo>
                <a:lnTo>
                  <a:pt x="609600" y="335843"/>
                </a:lnTo>
                <a:lnTo>
                  <a:pt x="47183" y="335843"/>
                </a:lnTo>
                <a:lnTo>
                  <a:pt x="47183" y="47978"/>
                </a:lnTo>
                <a:lnTo>
                  <a:pt x="444460" y="47978"/>
                </a:lnTo>
                <a:lnTo>
                  <a:pt x="444460" y="23989"/>
                </a:lnTo>
                <a:lnTo>
                  <a:pt x="442607" y="14649"/>
                </a:lnTo>
                <a:lnTo>
                  <a:pt x="437552" y="7024"/>
                </a:lnTo>
                <a:lnTo>
                  <a:pt x="430053" y="1884"/>
                </a:lnTo>
                <a:lnTo>
                  <a:pt x="420869" y="0"/>
                </a:lnTo>
                <a:close/>
              </a:path>
              <a:path w="609600" h="431800">
                <a:moveTo>
                  <a:pt x="469939" y="339683"/>
                </a:moveTo>
                <a:lnTo>
                  <a:pt x="139660" y="339683"/>
                </a:lnTo>
                <a:lnTo>
                  <a:pt x="148100" y="341420"/>
                </a:lnTo>
                <a:lnTo>
                  <a:pt x="155000" y="346154"/>
                </a:lnTo>
                <a:lnTo>
                  <a:pt x="159656" y="353170"/>
                </a:lnTo>
                <a:lnTo>
                  <a:pt x="161364" y="361751"/>
                </a:lnTo>
                <a:lnTo>
                  <a:pt x="159656" y="370333"/>
                </a:lnTo>
                <a:lnTo>
                  <a:pt x="155000" y="377349"/>
                </a:lnTo>
                <a:lnTo>
                  <a:pt x="148100" y="382084"/>
                </a:lnTo>
                <a:lnTo>
                  <a:pt x="139660" y="383821"/>
                </a:lnTo>
                <a:lnTo>
                  <a:pt x="469939" y="383821"/>
                </a:lnTo>
                <a:lnTo>
                  <a:pt x="461496" y="382084"/>
                </a:lnTo>
                <a:lnTo>
                  <a:pt x="454596" y="377349"/>
                </a:lnTo>
                <a:lnTo>
                  <a:pt x="449942" y="370333"/>
                </a:lnTo>
                <a:lnTo>
                  <a:pt x="448235" y="361751"/>
                </a:lnTo>
                <a:lnTo>
                  <a:pt x="449943" y="353167"/>
                </a:lnTo>
                <a:lnTo>
                  <a:pt x="454599" y="346151"/>
                </a:lnTo>
                <a:lnTo>
                  <a:pt x="461499" y="341419"/>
                </a:lnTo>
                <a:lnTo>
                  <a:pt x="469939" y="339683"/>
                </a:lnTo>
                <a:close/>
              </a:path>
              <a:path w="609600" h="431800">
                <a:moveTo>
                  <a:pt x="609600" y="339683"/>
                </a:moveTo>
                <a:lnTo>
                  <a:pt x="469939" y="339683"/>
                </a:lnTo>
                <a:lnTo>
                  <a:pt x="478378" y="341420"/>
                </a:lnTo>
                <a:lnTo>
                  <a:pt x="485278" y="346154"/>
                </a:lnTo>
                <a:lnTo>
                  <a:pt x="489935" y="353170"/>
                </a:lnTo>
                <a:lnTo>
                  <a:pt x="491643" y="361751"/>
                </a:lnTo>
                <a:lnTo>
                  <a:pt x="489935" y="370333"/>
                </a:lnTo>
                <a:lnTo>
                  <a:pt x="485278" y="377349"/>
                </a:lnTo>
                <a:lnTo>
                  <a:pt x="478378" y="382084"/>
                </a:lnTo>
                <a:lnTo>
                  <a:pt x="469939" y="383821"/>
                </a:lnTo>
                <a:lnTo>
                  <a:pt x="586008" y="383821"/>
                </a:lnTo>
                <a:lnTo>
                  <a:pt x="595192" y="381937"/>
                </a:lnTo>
                <a:lnTo>
                  <a:pt x="602691" y="376797"/>
                </a:lnTo>
                <a:lnTo>
                  <a:pt x="607746" y="369172"/>
                </a:lnTo>
                <a:lnTo>
                  <a:pt x="609600" y="359832"/>
                </a:lnTo>
                <a:lnTo>
                  <a:pt x="609600" y="339683"/>
                </a:lnTo>
                <a:close/>
              </a:path>
              <a:path w="609600" h="431800">
                <a:moveTo>
                  <a:pt x="139660" y="291705"/>
                </a:moveTo>
                <a:lnTo>
                  <a:pt x="118871" y="294970"/>
                </a:lnTo>
                <a:lnTo>
                  <a:pt x="100629" y="304091"/>
                </a:lnTo>
                <a:lnTo>
                  <a:pt x="85914" y="318053"/>
                </a:lnTo>
                <a:lnTo>
                  <a:pt x="75709" y="335843"/>
                </a:lnTo>
                <a:lnTo>
                  <a:pt x="203601" y="335843"/>
                </a:lnTo>
                <a:lnTo>
                  <a:pt x="193402" y="318053"/>
                </a:lnTo>
                <a:lnTo>
                  <a:pt x="178690" y="304091"/>
                </a:lnTo>
                <a:lnTo>
                  <a:pt x="160449" y="294970"/>
                </a:lnTo>
                <a:lnTo>
                  <a:pt x="139660" y="291705"/>
                </a:lnTo>
                <a:close/>
              </a:path>
              <a:path w="609600" h="431800">
                <a:moveTo>
                  <a:pt x="444460" y="47978"/>
                </a:moveTo>
                <a:lnTo>
                  <a:pt x="397277" y="47978"/>
                </a:lnTo>
                <a:lnTo>
                  <a:pt x="397277" y="335843"/>
                </a:lnTo>
                <a:lnTo>
                  <a:pt x="533880" y="335843"/>
                </a:lnTo>
                <a:lnTo>
                  <a:pt x="523681" y="318053"/>
                </a:lnTo>
                <a:lnTo>
                  <a:pt x="508969" y="304091"/>
                </a:lnTo>
                <a:lnTo>
                  <a:pt x="494255" y="296734"/>
                </a:lnTo>
                <a:lnTo>
                  <a:pt x="444460" y="296734"/>
                </a:lnTo>
                <a:lnTo>
                  <a:pt x="444460" y="119943"/>
                </a:lnTo>
                <a:lnTo>
                  <a:pt x="573670" y="119943"/>
                </a:lnTo>
                <a:lnTo>
                  <a:pt x="560727" y="87040"/>
                </a:lnTo>
                <a:lnTo>
                  <a:pt x="557149" y="80848"/>
                </a:lnTo>
                <a:lnTo>
                  <a:pt x="552049" y="76093"/>
                </a:lnTo>
                <a:lnTo>
                  <a:pt x="545812" y="73043"/>
                </a:lnTo>
                <a:lnTo>
                  <a:pt x="538825" y="71967"/>
                </a:lnTo>
                <a:lnTo>
                  <a:pt x="444460" y="71967"/>
                </a:lnTo>
                <a:lnTo>
                  <a:pt x="444460" y="47978"/>
                </a:lnTo>
                <a:close/>
              </a:path>
              <a:path w="609600" h="431800">
                <a:moveTo>
                  <a:pt x="573670" y="119943"/>
                </a:moveTo>
                <a:lnTo>
                  <a:pt x="522860" y="119943"/>
                </a:lnTo>
                <a:lnTo>
                  <a:pt x="532296" y="143932"/>
                </a:lnTo>
                <a:lnTo>
                  <a:pt x="491643" y="143932"/>
                </a:lnTo>
                <a:lnTo>
                  <a:pt x="482459" y="145817"/>
                </a:lnTo>
                <a:lnTo>
                  <a:pt x="474960" y="150958"/>
                </a:lnTo>
                <a:lnTo>
                  <a:pt x="469905" y="158583"/>
                </a:lnTo>
                <a:lnTo>
                  <a:pt x="468052" y="167921"/>
                </a:lnTo>
                <a:lnTo>
                  <a:pt x="468052" y="215900"/>
                </a:lnTo>
                <a:lnTo>
                  <a:pt x="469905" y="225238"/>
                </a:lnTo>
                <a:lnTo>
                  <a:pt x="474960" y="232863"/>
                </a:lnTo>
                <a:lnTo>
                  <a:pt x="482459" y="238004"/>
                </a:lnTo>
                <a:lnTo>
                  <a:pt x="491643" y="239889"/>
                </a:lnTo>
                <a:lnTo>
                  <a:pt x="562416" y="239889"/>
                </a:lnTo>
                <a:lnTo>
                  <a:pt x="562416" y="335843"/>
                </a:lnTo>
                <a:lnTo>
                  <a:pt x="609600" y="335843"/>
                </a:lnTo>
                <a:lnTo>
                  <a:pt x="609600" y="212848"/>
                </a:lnTo>
                <a:lnTo>
                  <a:pt x="609024" y="209825"/>
                </a:lnTo>
                <a:lnTo>
                  <a:pt x="573670" y="119943"/>
                </a:lnTo>
                <a:close/>
              </a:path>
              <a:path w="609600" h="431800">
                <a:moveTo>
                  <a:pt x="469939" y="291705"/>
                </a:moveTo>
                <a:lnTo>
                  <a:pt x="463269" y="292038"/>
                </a:lnTo>
                <a:lnTo>
                  <a:pt x="456781" y="293013"/>
                </a:lnTo>
                <a:lnTo>
                  <a:pt x="450503" y="294591"/>
                </a:lnTo>
                <a:lnTo>
                  <a:pt x="444460" y="296734"/>
                </a:lnTo>
                <a:lnTo>
                  <a:pt x="494255" y="296734"/>
                </a:lnTo>
                <a:lnTo>
                  <a:pt x="490727" y="294970"/>
                </a:lnTo>
                <a:lnTo>
                  <a:pt x="469939" y="29170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28" name="object 28"/>
          <p:cNvSpPr/>
          <p:nvPr/>
        </p:nvSpPr>
        <p:spPr>
          <a:xfrm>
            <a:off x="7588482" y="1491384"/>
            <a:ext cx="714375" cy="714375"/>
          </a:xfrm>
          <a:custGeom>
            <a:avLst/>
            <a:gdLst/>
            <a:ahLst/>
            <a:cxnLst/>
            <a:rect l="l" t="t" r="r" b="b"/>
            <a:pathLst>
              <a:path w="952500" h="952500">
                <a:moveTo>
                  <a:pt x="476167" y="0"/>
                </a:moveTo>
                <a:lnTo>
                  <a:pt x="430525" y="2179"/>
                </a:lnTo>
                <a:lnTo>
                  <a:pt x="385222" y="8716"/>
                </a:lnTo>
                <a:lnTo>
                  <a:pt x="340596" y="19612"/>
                </a:lnTo>
                <a:lnTo>
                  <a:pt x="296985" y="34866"/>
                </a:lnTo>
                <a:lnTo>
                  <a:pt x="254728" y="54478"/>
                </a:lnTo>
                <a:lnTo>
                  <a:pt x="214163" y="78449"/>
                </a:lnTo>
                <a:lnTo>
                  <a:pt x="175630" y="106778"/>
                </a:lnTo>
                <a:lnTo>
                  <a:pt x="139466" y="139466"/>
                </a:lnTo>
                <a:lnTo>
                  <a:pt x="106778" y="175630"/>
                </a:lnTo>
                <a:lnTo>
                  <a:pt x="78449" y="214163"/>
                </a:lnTo>
                <a:lnTo>
                  <a:pt x="54478" y="254727"/>
                </a:lnTo>
                <a:lnTo>
                  <a:pt x="34866" y="296984"/>
                </a:lnTo>
                <a:lnTo>
                  <a:pt x="19612" y="340595"/>
                </a:lnTo>
                <a:lnTo>
                  <a:pt x="8716" y="385222"/>
                </a:lnTo>
                <a:lnTo>
                  <a:pt x="2179" y="430525"/>
                </a:lnTo>
                <a:lnTo>
                  <a:pt x="0" y="476167"/>
                </a:lnTo>
                <a:lnTo>
                  <a:pt x="2179" y="521808"/>
                </a:lnTo>
                <a:lnTo>
                  <a:pt x="8716" y="567112"/>
                </a:lnTo>
                <a:lnTo>
                  <a:pt x="19612" y="611738"/>
                </a:lnTo>
                <a:lnTo>
                  <a:pt x="34866" y="655349"/>
                </a:lnTo>
                <a:lnTo>
                  <a:pt x="54478" y="697606"/>
                </a:lnTo>
                <a:lnTo>
                  <a:pt x="78449" y="738170"/>
                </a:lnTo>
                <a:lnTo>
                  <a:pt x="106778" y="776704"/>
                </a:lnTo>
                <a:lnTo>
                  <a:pt x="139466" y="812868"/>
                </a:lnTo>
                <a:lnTo>
                  <a:pt x="175630" y="845555"/>
                </a:lnTo>
                <a:lnTo>
                  <a:pt x="214163" y="873884"/>
                </a:lnTo>
                <a:lnTo>
                  <a:pt x="254728" y="897855"/>
                </a:lnTo>
                <a:lnTo>
                  <a:pt x="296985" y="917467"/>
                </a:lnTo>
                <a:lnTo>
                  <a:pt x="340596" y="932721"/>
                </a:lnTo>
                <a:lnTo>
                  <a:pt x="385222" y="943617"/>
                </a:lnTo>
                <a:lnTo>
                  <a:pt x="430525" y="950155"/>
                </a:lnTo>
                <a:lnTo>
                  <a:pt x="476167" y="952334"/>
                </a:lnTo>
                <a:lnTo>
                  <a:pt x="521809" y="950155"/>
                </a:lnTo>
                <a:lnTo>
                  <a:pt x="567112" y="943617"/>
                </a:lnTo>
                <a:lnTo>
                  <a:pt x="611738" y="932721"/>
                </a:lnTo>
                <a:lnTo>
                  <a:pt x="655349" y="917467"/>
                </a:lnTo>
                <a:lnTo>
                  <a:pt x="697606" y="897855"/>
                </a:lnTo>
                <a:lnTo>
                  <a:pt x="738170" y="873884"/>
                </a:lnTo>
                <a:lnTo>
                  <a:pt x="776704" y="845555"/>
                </a:lnTo>
                <a:lnTo>
                  <a:pt x="812868" y="812868"/>
                </a:lnTo>
                <a:lnTo>
                  <a:pt x="845555" y="776704"/>
                </a:lnTo>
                <a:lnTo>
                  <a:pt x="873885" y="738170"/>
                </a:lnTo>
                <a:lnTo>
                  <a:pt x="897855" y="697606"/>
                </a:lnTo>
                <a:lnTo>
                  <a:pt x="917468" y="655349"/>
                </a:lnTo>
                <a:lnTo>
                  <a:pt x="932722" y="611738"/>
                </a:lnTo>
                <a:lnTo>
                  <a:pt x="943618" y="567112"/>
                </a:lnTo>
                <a:lnTo>
                  <a:pt x="950156" y="521808"/>
                </a:lnTo>
                <a:lnTo>
                  <a:pt x="952335" y="476167"/>
                </a:lnTo>
                <a:lnTo>
                  <a:pt x="950156" y="430525"/>
                </a:lnTo>
                <a:lnTo>
                  <a:pt x="943618" y="385222"/>
                </a:lnTo>
                <a:lnTo>
                  <a:pt x="932722" y="340595"/>
                </a:lnTo>
                <a:lnTo>
                  <a:pt x="917468" y="296984"/>
                </a:lnTo>
                <a:lnTo>
                  <a:pt x="897855" y="254727"/>
                </a:lnTo>
                <a:lnTo>
                  <a:pt x="873885" y="214163"/>
                </a:lnTo>
                <a:lnTo>
                  <a:pt x="845555" y="175630"/>
                </a:lnTo>
                <a:lnTo>
                  <a:pt x="812868" y="139466"/>
                </a:lnTo>
                <a:lnTo>
                  <a:pt x="776704" y="106778"/>
                </a:lnTo>
                <a:lnTo>
                  <a:pt x="738170" y="78449"/>
                </a:lnTo>
                <a:lnTo>
                  <a:pt x="697606" y="54478"/>
                </a:lnTo>
                <a:lnTo>
                  <a:pt x="655349" y="34866"/>
                </a:lnTo>
                <a:lnTo>
                  <a:pt x="611738" y="19612"/>
                </a:lnTo>
                <a:lnTo>
                  <a:pt x="567112" y="8716"/>
                </a:lnTo>
                <a:lnTo>
                  <a:pt x="521809" y="2179"/>
                </a:lnTo>
                <a:lnTo>
                  <a:pt x="47616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29" name="object 29"/>
          <p:cNvSpPr/>
          <p:nvPr/>
        </p:nvSpPr>
        <p:spPr>
          <a:xfrm>
            <a:off x="7882257" y="1655756"/>
            <a:ext cx="123349" cy="0"/>
          </a:xfrm>
          <a:custGeom>
            <a:avLst/>
            <a:gdLst/>
            <a:ahLst/>
            <a:cxnLst/>
            <a:rect l="l" t="t" r="r" b="b"/>
            <a:pathLst>
              <a:path w="164465">
                <a:moveTo>
                  <a:pt x="0" y="0"/>
                </a:moveTo>
                <a:lnTo>
                  <a:pt x="164266" y="0"/>
                </a:lnTo>
              </a:path>
            </a:pathLst>
          </a:custGeom>
          <a:ln w="46549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30" name="object 30"/>
          <p:cNvSpPr/>
          <p:nvPr/>
        </p:nvSpPr>
        <p:spPr>
          <a:xfrm>
            <a:off x="7705784" y="1682378"/>
            <a:ext cx="476250" cy="365760"/>
          </a:xfrm>
          <a:custGeom>
            <a:avLst/>
            <a:gdLst/>
            <a:ahLst/>
            <a:cxnLst/>
            <a:rect l="l" t="t" r="r" b="b"/>
            <a:pathLst>
              <a:path w="635000" h="487680">
                <a:moveTo>
                  <a:pt x="405680" y="352623"/>
                </a:moveTo>
                <a:lnTo>
                  <a:pt x="229179" y="352623"/>
                </a:lnTo>
                <a:lnTo>
                  <a:pt x="197239" y="359080"/>
                </a:lnTo>
                <a:lnTo>
                  <a:pt x="171129" y="376681"/>
                </a:lnTo>
                <a:lnTo>
                  <a:pt x="153510" y="402763"/>
                </a:lnTo>
                <a:lnTo>
                  <a:pt x="147045" y="434668"/>
                </a:lnTo>
                <a:lnTo>
                  <a:pt x="147045" y="464052"/>
                </a:lnTo>
                <a:lnTo>
                  <a:pt x="148879" y="473104"/>
                </a:lnTo>
                <a:lnTo>
                  <a:pt x="153877" y="480504"/>
                </a:lnTo>
                <a:lnTo>
                  <a:pt x="161284" y="485496"/>
                </a:lnTo>
                <a:lnTo>
                  <a:pt x="170345" y="487328"/>
                </a:lnTo>
                <a:lnTo>
                  <a:pt x="464515" y="487328"/>
                </a:lnTo>
                <a:lnTo>
                  <a:pt x="473576" y="485496"/>
                </a:lnTo>
                <a:lnTo>
                  <a:pt x="480983" y="480504"/>
                </a:lnTo>
                <a:lnTo>
                  <a:pt x="485981" y="473104"/>
                </a:lnTo>
                <a:lnTo>
                  <a:pt x="487816" y="464052"/>
                </a:lnTo>
                <a:lnTo>
                  <a:pt x="487816" y="440780"/>
                </a:lnTo>
                <a:lnTo>
                  <a:pt x="193643" y="440780"/>
                </a:lnTo>
                <a:lnTo>
                  <a:pt x="193643" y="434668"/>
                </a:lnTo>
                <a:lnTo>
                  <a:pt x="196440" y="420865"/>
                </a:lnTo>
                <a:lnTo>
                  <a:pt x="204063" y="409580"/>
                </a:lnTo>
                <a:lnTo>
                  <a:pt x="215360" y="401966"/>
                </a:lnTo>
                <a:lnTo>
                  <a:pt x="229179" y="399172"/>
                </a:lnTo>
                <a:lnTo>
                  <a:pt x="478925" y="399172"/>
                </a:lnTo>
                <a:lnTo>
                  <a:pt x="463731" y="376681"/>
                </a:lnTo>
                <a:lnTo>
                  <a:pt x="437620" y="359080"/>
                </a:lnTo>
                <a:lnTo>
                  <a:pt x="405680" y="352623"/>
                </a:lnTo>
                <a:close/>
              </a:path>
              <a:path w="635000" h="487680">
                <a:moveTo>
                  <a:pt x="478925" y="399172"/>
                </a:moveTo>
                <a:lnTo>
                  <a:pt x="405680" y="399172"/>
                </a:lnTo>
                <a:lnTo>
                  <a:pt x="419499" y="401966"/>
                </a:lnTo>
                <a:lnTo>
                  <a:pt x="430796" y="409580"/>
                </a:lnTo>
                <a:lnTo>
                  <a:pt x="438418" y="420865"/>
                </a:lnTo>
                <a:lnTo>
                  <a:pt x="441215" y="434668"/>
                </a:lnTo>
                <a:lnTo>
                  <a:pt x="441215" y="440780"/>
                </a:lnTo>
                <a:lnTo>
                  <a:pt x="487816" y="440780"/>
                </a:lnTo>
                <a:lnTo>
                  <a:pt x="487816" y="434668"/>
                </a:lnTo>
                <a:lnTo>
                  <a:pt x="481351" y="402763"/>
                </a:lnTo>
                <a:lnTo>
                  <a:pt x="478925" y="399172"/>
                </a:lnTo>
                <a:close/>
              </a:path>
              <a:path w="635000" h="487680">
                <a:moveTo>
                  <a:pt x="317430" y="0"/>
                </a:moveTo>
                <a:lnTo>
                  <a:pt x="272746" y="13441"/>
                </a:lnTo>
                <a:lnTo>
                  <a:pt x="242563" y="50141"/>
                </a:lnTo>
                <a:lnTo>
                  <a:pt x="235540" y="88155"/>
                </a:lnTo>
                <a:lnTo>
                  <a:pt x="68444" y="88155"/>
                </a:lnTo>
                <a:lnTo>
                  <a:pt x="18985" y="109235"/>
                </a:lnTo>
                <a:lnTo>
                  <a:pt x="0" y="159872"/>
                </a:lnTo>
                <a:lnTo>
                  <a:pt x="3314" y="177817"/>
                </a:lnTo>
                <a:lnTo>
                  <a:pt x="31638" y="215409"/>
                </a:lnTo>
                <a:lnTo>
                  <a:pt x="254421" y="274360"/>
                </a:lnTo>
                <a:lnTo>
                  <a:pt x="262269" y="352623"/>
                </a:lnTo>
                <a:lnTo>
                  <a:pt x="309072" y="352623"/>
                </a:lnTo>
                <a:lnTo>
                  <a:pt x="296279" y="225393"/>
                </a:lnTo>
                <a:lnTo>
                  <a:pt x="249534" y="225393"/>
                </a:lnTo>
                <a:lnTo>
                  <a:pt x="70020" y="183135"/>
                </a:lnTo>
                <a:lnTo>
                  <a:pt x="61955" y="180864"/>
                </a:lnTo>
                <a:lnTo>
                  <a:pt x="54922" y="175745"/>
                </a:lnTo>
                <a:lnTo>
                  <a:pt x="45731" y="162008"/>
                </a:lnTo>
                <a:lnTo>
                  <a:pt x="45307" y="153419"/>
                </a:lnTo>
                <a:lnTo>
                  <a:pt x="49098" y="146291"/>
                </a:lnTo>
                <a:lnTo>
                  <a:pt x="52946" y="139136"/>
                </a:lnTo>
                <a:lnTo>
                  <a:pt x="60354" y="134703"/>
                </a:lnTo>
                <a:lnTo>
                  <a:pt x="287161" y="134703"/>
                </a:lnTo>
                <a:lnTo>
                  <a:pt x="281896" y="82350"/>
                </a:lnTo>
                <a:lnTo>
                  <a:pt x="281896" y="82044"/>
                </a:lnTo>
                <a:lnTo>
                  <a:pt x="284693" y="68240"/>
                </a:lnTo>
                <a:lnTo>
                  <a:pt x="292316" y="56956"/>
                </a:lnTo>
                <a:lnTo>
                  <a:pt x="303612" y="49341"/>
                </a:lnTo>
                <a:lnTo>
                  <a:pt x="317430" y="46548"/>
                </a:lnTo>
                <a:lnTo>
                  <a:pt x="390671" y="46548"/>
                </a:lnTo>
                <a:lnTo>
                  <a:pt x="375479" y="24057"/>
                </a:lnTo>
                <a:lnTo>
                  <a:pt x="349369" y="6457"/>
                </a:lnTo>
                <a:lnTo>
                  <a:pt x="317430" y="0"/>
                </a:lnTo>
                <a:close/>
              </a:path>
              <a:path w="635000" h="487680">
                <a:moveTo>
                  <a:pt x="390671" y="46548"/>
                </a:moveTo>
                <a:lnTo>
                  <a:pt x="317430" y="46548"/>
                </a:lnTo>
                <a:lnTo>
                  <a:pt x="330916" y="49190"/>
                </a:lnTo>
                <a:lnTo>
                  <a:pt x="342254" y="56302"/>
                </a:lnTo>
                <a:lnTo>
                  <a:pt x="350101" y="66659"/>
                </a:lnTo>
                <a:lnTo>
                  <a:pt x="353112" y="79038"/>
                </a:lnTo>
                <a:lnTo>
                  <a:pt x="353116" y="79376"/>
                </a:lnTo>
                <a:lnTo>
                  <a:pt x="325761" y="352623"/>
                </a:lnTo>
                <a:lnTo>
                  <a:pt x="372566" y="352623"/>
                </a:lnTo>
                <a:lnTo>
                  <a:pt x="380376" y="274360"/>
                </a:lnTo>
                <a:lnTo>
                  <a:pt x="577730" y="227873"/>
                </a:lnTo>
                <a:lnTo>
                  <a:pt x="584186" y="225393"/>
                </a:lnTo>
                <a:lnTo>
                  <a:pt x="385245" y="225393"/>
                </a:lnTo>
                <a:lnTo>
                  <a:pt x="394256" y="134703"/>
                </a:lnTo>
                <a:lnTo>
                  <a:pt x="630660" y="134703"/>
                </a:lnTo>
                <a:lnTo>
                  <a:pt x="626771" y="124279"/>
                </a:lnTo>
                <a:lnTo>
                  <a:pt x="615845" y="109235"/>
                </a:lnTo>
                <a:lnTo>
                  <a:pt x="601575" y="97861"/>
                </a:lnTo>
                <a:lnTo>
                  <a:pt x="584806" y="90666"/>
                </a:lnTo>
                <a:lnTo>
                  <a:pt x="566387" y="88155"/>
                </a:lnTo>
                <a:lnTo>
                  <a:pt x="399562" y="88155"/>
                </a:lnTo>
                <a:lnTo>
                  <a:pt x="399562" y="82044"/>
                </a:lnTo>
                <a:lnTo>
                  <a:pt x="393097" y="50139"/>
                </a:lnTo>
                <a:lnTo>
                  <a:pt x="390671" y="46548"/>
                </a:lnTo>
                <a:close/>
              </a:path>
              <a:path w="635000" h="487680">
                <a:moveTo>
                  <a:pt x="287161" y="134703"/>
                </a:moveTo>
                <a:lnTo>
                  <a:pt x="240451" y="134703"/>
                </a:lnTo>
                <a:lnTo>
                  <a:pt x="249534" y="225393"/>
                </a:lnTo>
                <a:lnTo>
                  <a:pt x="296279" y="225393"/>
                </a:lnTo>
                <a:lnTo>
                  <a:pt x="287161" y="134703"/>
                </a:lnTo>
                <a:close/>
              </a:path>
              <a:path w="635000" h="487680">
                <a:moveTo>
                  <a:pt x="630660" y="134703"/>
                </a:moveTo>
                <a:lnTo>
                  <a:pt x="574457" y="134703"/>
                </a:lnTo>
                <a:lnTo>
                  <a:pt x="581854" y="139136"/>
                </a:lnTo>
                <a:lnTo>
                  <a:pt x="589537" y="153380"/>
                </a:lnTo>
                <a:lnTo>
                  <a:pt x="385245" y="225393"/>
                </a:lnTo>
                <a:lnTo>
                  <a:pt x="584186" y="225393"/>
                </a:lnTo>
                <a:lnTo>
                  <a:pt x="623429" y="194515"/>
                </a:lnTo>
                <a:lnTo>
                  <a:pt x="634842" y="159857"/>
                </a:lnTo>
                <a:lnTo>
                  <a:pt x="633266" y="141690"/>
                </a:lnTo>
                <a:lnTo>
                  <a:pt x="630660" y="134703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31" name="object 31"/>
          <p:cNvSpPr/>
          <p:nvPr/>
        </p:nvSpPr>
        <p:spPr>
          <a:xfrm>
            <a:off x="8607707" y="1453284"/>
            <a:ext cx="714375" cy="714375"/>
          </a:xfrm>
          <a:custGeom>
            <a:avLst/>
            <a:gdLst/>
            <a:ahLst/>
            <a:cxnLst/>
            <a:rect l="l" t="t" r="r" b="b"/>
            <a:pathLst>
              <a:path w="952500" h="952500">
                <a:moveTo>
                  <a:pt x="476167" y="0"/>
                </a:moveTo>
                <a:lnTo>
                  <a:pt x="430525" y="2179"/>
                </a:lnTo>
                <a:lnTo>
                  <a:pt x="385222" y="8716"/>
                </a:lnTo>
                <a:lnTo>
                  <a:pt x="340595" y="19612"/>
                </a:lnTo>
                <a:lnTo>
                  <a:pt x="296984" y="34866"/>
                </a:lnTo>
                <a:lnTo>
                  <a:pt x="254727" y="54478"/>
                </a:lnTo>
                <a:lnTo>
                  <a:pt x="214163" y="78449"/>
                </a:lnTo>
                <a:lnTo>
                  <a:pt x="175630" y="106778"/>
                </a:lnTo>
                <a:lnTo>
                  <a:pt x="139466" y="139466"/>
                </a:lnTo>
                <a:lnTo>
                  <a:pt x="106778" y="175630"/>
                </a:lnTo>
                <a:lnTo>
                  <a:pt x="78449" y="214163"/>
                </a:lnTo>
                <a:lnTo>
                  <a:pt x="54478" y="254727"/>
                </a:lnTo>
                <a:lnTo>
                  <a:pt x="34866" y="296984"/>
                </a:lnTo>
                <a:lnTo>
                  <a:pt x="19612" y="340595"/>
                </a:lnTo>
                <a:lnTo>
                  <a:pt x="8716" y="385222"/>
                </a:lnTo>
                <a:lnTo>
                  <a:pt x="2179" y="430525"/>
                </a:lnTo>
                <a:lnTo>
                  <a:pt x="0" y="476167"/>
                </a:lnTo>
                <a:lnTo>
                  <a:pt x="2179" y="521808"/>
                </a:lnTo>
                <a:lnTo>
                  <a:pt x="8716" y="567112"/>
                </a:lnTo>
                <a:lnTo>
                  <a:pt x="19612" y="611738"/>
                </a:lnTo>
                <a:lnTo>
                  <a:pt x="34866" y="655349"/>
                </a:lnTo>
                <a:lnTo>
                  <a:pt x="54478" y="697606"/>
                </a:lnTo>
                <a:lnTo>
                  <a:pt x="78449" y="738170"/>
                </a:lnTo>
                <a:lnTo>
                  <a:pt x="106778" y="776704"/>
                </a:lnTo>
                <a:lnTo>
                  <a:pt x="139466" y="812868"/>
                </a:lnTo>
                <a:lnTo>
                  <a:pt x="175630" y="845555"/>
                </a:lnTo>
                <a:lnTo>
                  <a:pt x="214163" y="873884"/>
                </a:lnTo>
                <a:lnTo>
                  <a:pt x="254727" y="897855"/>
                </a:lnTo>
                <a:lnTo>
                  <a:pt x="296984" y="917467"/>
                </a:lnTo>
                <a:lnTo>
                  <a:pt x="340595" y="932721"/>
                </a:lnTo>
                <a:lnTo>
                  <a:pt x="385222" y="943617"/>
                </a:lnTo>
                <a:lnTo>
                  <a:pt x="430525" y="950155"/>
                </a:lnTo>
                <a:lnTo>
                  <a:pt x="476167" y="952334"/>
                </a:lnTo>
                <a:lnTo>
                  <a:pt x="521808" y="950155"/>
                </a:lnTo>
                <a:lnTo>
                  <a:pt x="567112" y="943617"/>
                </a:lnTo>
                <a:lnTo>
                  <a:pt x="611738" y="932721"/>
                </a:lnTo>
                <a:lnTo>
                  <a:pt x="655349" y="917467"/>
                </a:lnTo>
                <a:lnTo>
                  <a:pt x="697606" y="897855"/>
                </a:lnTo>
                <a:lnTo>
                  <a:pt x="738170" y="873884"/>
                </a:lnTo>
                <a:lnTo>
                  <a:pt x="776704" y="845555"/>
                </a:lnTo>
                <a:lnTo>
                  <a:pt x="812868" y="812868"/>
                </a:lnTo>
                <a:lnTo>
                  <a:pt x="845555" y="776704"/>
                </a:lnTo>
                <a:lnTo>
                  <a:pt x="873884" y="738170"/>
                </a:lnTo>
                <a:lnTo>
                  <a:pt x="897855" y="697606"/>
                </a:lnTo>
                <a:lnTo>
                  <a:pt x="917467" y="655349"/>
                </a:lnTo>
                <a:lnTo>
                  <a:pt x="932721" y="611738"/>
                </a:lnTo>
                <a:lnTo>
                  <a:pt x="943617" y="567112"/>
                </a:lnTo>
                <a:lnTo>
                  <a:pt x="950155" y="521808"/>
                </a:lnTo>
                <a:lnTo>
                  <a:pt x="952334" y="476167"/>
                </a:lnTo>
                <a:lnTo>
                  <a:pt x="950155" y="430525"/>
                </a:lnTo>
                <a:lnTo>
                  <a:pt x="943617" y="385222"/>
                </a:lnTo>
                <a:lnTo>
                  <a:pt x="932721" y="340595"/>
                </a:lnTo>
                <a:lnTo>
                  <a:pt x="917467" y="296984"/>
                </a:lnTo>
                <a:lnTo>
                  <a:pt x="897855" y="254727"/>
                </a:lnTo>
                <a:lnTo>
                  <a:pt x="873884" y="214163"/>
                </a:lnTo>
                <a:lnTo>
                  <a:pt x="845555" y="175630"/>
                </a:lnTo>
                <a:lnTo>
                  <a:pt x="812868" y="139466"/>
                </a:lnTo>
                <a:lnTo>
                  <a:pt x="776704" y="106778"/>
                </a:lnTo>
                <a:lnTo>
                  <a:pt x="738170" y="78449"/>
                </a:lnTo>
                <a:lnTo>
                  <a:pt x="697606" y="54478"/>
                </a:lnTo>
                <a:lnTo>
                  <a:pt x="655349" y="34866"/>
                </a:lnTo>
                <a:lnTo>
                  <a:pt x="611738" y="19612"/>
                </a:lnTo>
                <a:lnTo>
                  <a:pt x="567112" y="8716"/>
                </a:lnTo>
                <a:lnTo>
                  <a:pt x="521808" y="2179"/>
                </a:lnTo>
                <a:lnTo>
                  <a:pt x="47616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32" name="object 32"/>
          <p:cNvSpPr/>
          <p:nvPr/>
        </p:nvSpPr>
        <p:spPr>
          <a:xfrm>
            <a:off x="8801100" y="1657350"/>
            <a:ext cx="323850" cy="419100"/>
          </a:xfrm>
          <a:custGeom>
            <a:avLst/>
            <a:gdLst/>
            <a:ahLst/>
            <a:cxnLst/>
            <a:rect l="l" t="t" r="r" b="b"/>
            <a:pathLst>
              <a:path w="431800" h="558800">
                <a:moveTo>
                  <a:pt x="134094" y="452133"/>
                </a:moveTo>
                <a:lnTo>
                  <a:pt x="88552" y="452133"/>
                </a:lnTo>
                <a:lnTo>
                  <a:pt x="49336" y="529842"/>
                </a:lnTo>
                <a:lnTo>
                  <a:pt x="47448" y="537350"/>
                </a:lnTo>
                <a:lnTo>
                  <a:pt x="48573" y="545006"/>
                </a:lnTo>
                <a:lnTo>
                  <a:pt x="52359" y="551803"/>
                </a:lnTo>
                <a:lnTo>
                  <a:pt x="58436" y="556647"/>
                </a:lnTo>
                <a:lnTo>
                  <a:pt x="61304" y="558064"/>
                </a:lnTo>
                <a:lnTo>
                  <a:pt x="64288" y="558800"/>
                </a:lnTo>
                <a:lnTo>
                  <a:pt x="74857" y="558800"/>
                </a:lnTo>
                <a:lnTo>
                  <a:pt x="82273" y="554271"/>
                </a:lnTo>
                <a:lnTo>
                  <a:pt x="103733" y="512133"/>
                </a:lnTo>
                <a:lnTo>
                  <a:pt x="373527" y="512133"/>
                </a:lnTo>
                <a:lnTo>
                  <a:pt x="353339" y="472132"/>
                </a:lnTo>
                <a:lnTo>
                  <a:pt x="123973" y="472132"/>
                </a:lnTo>
                <a:lnTo>
                  <a:pt x="134094" y="452133"/>
                </a:lnTo>
                <a:close/>
              </a:path>
              <a:path w="431800" h="558800">
                <a:moveTo>
                  <a:pt x="373527" y="512133"/>
                </a:moveTo>
                <a:lnTo>
                  <a:pt x="328066" y="512133"/>
                </a:lnTo>
                <a:lnTo>
                  <a:pt x="346199" y="547757"/>
                </a:lnTo>
                <a:lnTo>
                  <a:pt x="349477" y="554300"/>
                </a:lnTo>
                <a:lnTo>
                  <a:pt x="356930" y="558800"/>
                </a:lnTo>
                <a:lnTo>
                  <a:pt x="367557" y="558800"/>
                </a:lnTo>
                <a:lnTo>
                  <a:pt x="384408" y="537328"/>
                </a:lnTo>
                <a:lnTo>
                  <a:pt x="382464" y="529842"/>
                </a:lnTo>
                <a:lnTo>
                  <a:pt x="373527" y="512133"/>
                </a:lnTo>
                <a:close/>
              </a:path>
              <a:path w="431800" h="558800">
                <a:moveTo>
                  <a:pt x="343246" y="452133"/>
                </a:moveTo>
                <a:lnTo>
                  <a:pt x="297707" y="452133"/>
                </a:lnTo>
                <a:lnTo>
                  <a:pt x="307826" y="472132"/>
                </a:lnTo>
                <a:lnTo>
                  <a:pt x="353339" y="472132"/>
                </a:lnTo>
                <a:lnTo>
                  <a:pt x="343246" y="452133"/>
                </a:lnTo>
                <a:close/>
              </a:path>
              <a:path w="431800" h="558800">
                <a:moveTo>
                  <a:pt x="371078" y="0"/>
                </a:moveTo>
                <a:lnTo>
                  <a:pt x="60722" y="0"/>
                </a:lnTo>
                <a:lnTo>
                  <a:pt x="37190" y="4749"/>
                </a:lnTo>
                <a:lnTo>
                  <a:pt x="17877" y="17664"/>
                </a:lnTo>
                <a:lnTo>
                  <a:pt x="4806" y="36747"/>
                </a:lnTo>
                <a:lnTo>
                  <a:pt x="0" y="59999"/>
                </a:lnTo>
                <a:lnTo>
                  <a:pt x="0" y="392134"/>
                </a:lnTo>
                <a:lnTo>
                  <a:pt x="4806" y="415386"/>
                </a:lnTo>
                <a:lnTo>
                  <a:pt x="17877" y="434469"/>
                </a:lnTo>
                <a:lnTo>
                  <a:pt x="37190" y="447384"/>
                </a:lnTo>
                <a:lnTo>
                  <a:pt x="60722" y="452133"/>
                </a:lnTo>
                <a:lnTo>
                  <a:pt x="371078" y="452133"/>
                </a:lnTo>
                <a:lnTo>
                  <a:pt x="394610" y="447384"/>
                </a:lnTo>
                <a:lnTo>
                  <a:pt x="413922" y="434469"/>
                </a:lnTo>
                <a:lnTo>
                  <a:pt x="426993" y="415386"/>
                </a:lnTo>
                <a:lnTo>
                  <a:pt x="427666" y="412132"/>
                </a:lnTo>
                <a:lnTo>
                  <a:pt x="60722" y="412132"/>
                </a:lnTo>
                <a:lnTo>
                  <a:pt x="52680" y="410614"/>
                </a:lnTo>
                <a:lnTo>
                  <a:pt x="46264" y="406418"/>
                </a:lnTo>
                <a:lnTo>
                  <a:pt x="42016" y="400079"/>
                </a:lnTo>
                <a:lnTo>
                  <a:pt x="40479" y="392134"/>
                </a:lnTo>
                <a:lnTo>
                  <a:pt x="40479" y="59999"/>
                </a:lnTo>
                <a:lnTo>
                  <a:pt x="42016" y="52054"/>
                </a:lnTo>
                <a:lnTo>
                  <a:pt x="46264" y="45715"/>
                </a:lnTo>
                <a:lnTo>
                  <a:pt x="52680" y="41519"/>
                </a:lnTo>
                <a:lnTo>
                  <a:pt x="60722" y="40001"/>
                </a:lnTo>
                <a:lnTo>
                  <a:pt x="427666" y="40001"/>
                </a:lnTo>
                <a:lnTo>
                  <a:pt x="426993" y="36747"/>
                </a:lnTo>
                <a:lnTo>
                  <a:pt x="413922" y="17664"/>
                </a:lnTo>
                <a:lnTo>
                  <a:pt x="394610" y="4749"/>
                </a:lnTo>
                <a:lnTo>
                  <a:pt x="371078" y="0"/>
                </a:lnTo>
                <a:close/>
              </a:path>
              <a:path w="431800" h="558800">
                <a:moveTo>
                  <a:pt x="427666" y="40001"/>
                </a:moveTo>
                <a:lnTo>
                  <a:pt x="371078" y="40001"/>
                </a:lnTo>
                <a:lnTo>
                  <a:pt x="379119" y="41519"/>
                </a:lnTo>
                <a:lnTo>
                  <a:pt x="385535" y="45715"/>
                </a:lnTo>
                <a:lnTo>
                  <a:pt x="389782" y="52054"/>
                </a:lnTo>
                <a:lnTo>
                  <a:pt x="391318" y="59999"/>
                </a:lnTo>
                <a:lnTo>
                  <a:pt x="391318" y="392134"/>
                </a:lnTo>
                <a:lnTo>
                  <a:pt x="389782" y="400079"/>
                </a:lnTo>
                <a:lnTo>
                  <a:pt x="385535" y="406418"/>
                </a:lnTo>
                <a:lnTo>
                  <a:pt x="379119" y="410614"/>
                </a:lnTo>
                <a:lnTo>
                  <a:pt x="371078" y="412132"/>
                </a:lnTo>
                <a:lnTo>
                  <a:pt x="427666" y="412132"/>
                </a:lnTo>
                <a:lnTo>
                  <a:pt x="431800" y="392134"/>
                </a:lnTo>
                <a:lnTo>
                  <a:pt x="431800" y="59999"/>
                </a:lnTo>
                <a:lnTo>
                  <a:pt x="427666" y="40001"/>
                </a:lnTo>
                <a:close/>
              </a:path>
              <a:path w="431800" h="558800">
                <a:moveTo>
                  <a:pt x="114697" y="278800"/>
                </a:moveTo>
                <a:lnTo>
                  <a:pt x="91162" y="283549"/>
                </a:lnTo>
                <a:lnTo>
                  <a:pt x="71849" y="296463"/>
                </a:lnTo>
                <a:lnTo>
                  <a:pt x="58780" y="315546"/>
                </a:lnTo>
                <a:lnTo>
                  <a:pt x="53975" y="338800"/>
                </a:lnTo>
                <a:lnTo>
                  <a:pt x="58780" y="362054"/>
                </a:lnTo>
                <a:lnTo>
                  <a:pt x="71849" y="381137"/>
                </a:lnTo>
                <a:lnTo>
                  <a:pt x="91162" y="394051"/>
                </a:lnTo>
                <a:lnTo>
                  <a:pt x="114697" y="398800"/>
                </a:lnTo>
                <a:lnTo>
                  <a:pt x="138231" y="394051"/>
                </a:lnTo>
                <a:lnTo>
                  <a:pt x="157544" y="381137"/>
                </a:lnTo>
                <a:lnTo>
                  <a:pt x="170614" y="362054"/>
                </a:lnTo>
                <a:lnTo>
                  <a:pt x="171286" y="358800"/>
                </a:lnTo>
                <a:lnTo>
                  <a:pt x="114697" y="358800"/>
                </a:lnTo>
                <a:lnTo>
                  <a:pt x="106717" y="357262"/>
                </a:lnTo>
                <a:lnTo>
                  <a:pt x="100294" y="353031"/>
                </a:lnTo>
                <a:lnTo>
                  <a:pt x="96013" y="346685"/>
                </a:lnTo>
                <a:lnTo>
                  <a:pt x="94456" y="338800"/>
                </a:lnTo>
                <a:lnTo>
                  <a:pt x="96013" y="330916"/>
                </a:lnTo>
                <a:lnTo>
                  <a:pt x="100294" y="324570"/>
                </a:lnTo>
                <a:lnTo>
                  <a:pt x="106717" y="320340"/>
                </a:lnTo>
                <a:lnTo>
                  <a:pt x="114697" y="318801"/>
                </a:lnTo>
                <a:lnTo>
                  <a:pt x="171287" y="318801"/>
                </a:lnTo>
                <a:lnTo>
                  <a:pt x="170614" y="315546"/>
                </a:lnTo>
                <a:lnTo>
                  <a:pt x="157544" y="296463"/>
                </a:lnTo>
                <a:lnTo>
                  <a:pt x="138231" y="283549"/>
                </a:lnTo>
                <a:lnTo>
                  <a:pt x="114697" y="278800"/>
                </a:lnTo>
                <a:close/>
              </a:path>
              <a:path w="431800" h="558800">
                <a:moveTo>
                  <a:pt x="317103" y="278800"/>
                </a:moveTo>
                <a:lnTo>
                  <a:pt x="293569" y="283549"/>
                </a:lnTo>
                <a:lnTo>
                  <a:pt x="274256" y="296463"/>
                </a:lnTo>
                <a:lnTo>
                  <a:pt x="261186" y="315546"/>
                </a:lnTo>
                <a:lnTo>
                  <a:pt x="256381" y="338800"/>
                </a:lnTo>
                <a:lnTo>
                  <a:pt x="261186" y="362054"/>
                </a:lnTo>
                <a:lnTo>
                  <a:pt x="274256" y="381137"/>
                </a:lnTo>
                <a:lnTo>
                  <a:pt x="293569" y="394051"/>
                </a:lnTo>
                <a:lnTo>
                  <a:pt x="317103" y="398800"/>
                </a:lnTo>
                <a:lnTo>
                  <a:pt x="340638" y="394051"/>
                </a:lnTo>
                <a:lnTo>
                  <a:pt x="359950" y="381137"/>
                </a:lnTo>
                <a:lnTo>
                  <a:pt x="373019" y="362054"/>
                </a:lnTo>
                <a:lnTo>
                  <a:pt x="373692" y="358800"/>
                </a:lnTo>
                <a:lnTo>
                  <a:pt x="317103" y="358800"/>
                </a:lnTo>
                <a:lnTo>
                  <a:pt x="309124" y="357262"/>
                </a:lnTo>
                <a:lnTo>
                  <a:pt x="302701" y="353031"/>
                </a:lnTo>
                <a:lnTo>
                  <a:pt x="298420" y="346685"/>
                </a:lnTo>
                <a:lnTo>
                  <a:pt x="296863" y="338800"/>
                </a:lnTo>
                <a:lnTo>
                  <a:pt x="298420" y="330916"/>
                </a:lnTo>
                <a:lnTo>
                  <a:pt x="302701" y="324570"/>
                </a:lnTo>
                <a:lnTo>
                  <a:pt x="309124" y="320340"/>
                </a:lnTo>
                <a:lnTo>
                  <a:pt x="317103" y="318801"/>
                </a:lnTo>
                <a:lnTo>
                  <a:pt x="373692" y="318801"/>
                </a:lnTo>
                <a:lnTo>
                  <a:pt x="373019" y="315546"/>
                </a:lnTo>
                <a:lnTo>
                  <a:pt x="359950" y="296463"/>
                </a:lnTo>
                <a:lnTo>
                  <a:pt x="340638" y="283549"/>
                </a:lnTo>
                <a:lnTo>
                  <a:pt x="317103" y="278800"/>
                </a:lnTo>
                <a:close/>
              </a:path>
              <a:path w="431800" h="558800">
                <a:moveTo>
                  <a:pt x="171287" y="318801"/>
                </a:moveTo>
                <a:lnTo>
                  <a:pt x="114697" y="318801"/>
                </a:lnTo>
                <a:lnTo>
                  <a:pt x="122677" y="320340"/>
                </a:lnTo>
                <a:lnTo>
                  <a:pt x="129099" y="324570"/>
                </a:lnTo>
                <a:lnTo>
                  <a:pt x="133380" y="330916"/>
                </a:lnTo>
                <a:lnTo>
                  <a:pt x="134937" y="338800"/>
                </a:lnTo>
                <a:lnTo>
                  <a:pt x="133380" y="346685"/>
                </a:lnTo>
                <a:lnTo>
                  <a:pt x="129099" y="353031"/>
                </a:lnTo>
                <a:lnTo>
                  <a:pt x="122677" y="357262"/>
                </a:lnTo>
                <a:lnTo>
                  <a:pt x="114697" y="358800"/>
                </a:lnTo>
                <a:lnTo>
                  <a:pt x="171286" y="358800"/>
                </a:lnTo>
                <a:lnTo>
                  <a:pt x="175420" y="338800"/>
                </a:lnTo>
                <a:lnTo>
                  <a:pt x="171287" y="318801"/>
                </a:lnTo>
                <a:close/>
              </a:path>
              <a:path w="431800" h="558800">
                <a:moveTo>
                  <a:pt x="373692" y="318801"/>
                </a:moveTo>
                <a:lnTo>
                  <a:pt x="317103" y="318801"/>
                </a:lnTo>
                <a:lnTo>
                  <a:pt x="325082" y="320340"/>
                </a:lnTo>
                <a:lnTo>
                  <a:pt x="331505" y="324570"/>
                </a:lnTo>
                <a:lnTo>
                  <a:pt x="335786" y="330916"/>
                </a:lnTo>
                <a:lnTo>
                  <a:pt x="337343" y="338800"/>
                </a:lnTo>
                <a:lnTo>
                  <a:pt x="335786" y="346685"/>
                </a:lnTo>
                <a:lnTo>
                  <a:pt x="331505" y="353031"/>
                </a:lnTo>
                <a:lnTo>
                  <a:pt x="325082" y="357262"/>
                </a:lnTo>
                <a:lnTo>
                  <a:pt x="317103" y="358800"/>
                </a:lnTo>
                <a:lnTo>
                  <a:pt x="373692" y="358800"/>
                </a:lnTo>
                <a:lnTo>
                  <a:pt x="377825" y="338800"/>
                </a:lnTo>
                <a:lnTo>
                  <a:pt x="373692" y="318801"/>
                </a:lnTo>
                <a:close/>
              </a:path>
              <a:path w="431800" h="558800">
                <a:moveTo>
                  <a:pt x="357585" y="65469"/>
                </a:moveTo>
                <a:lnTo>
                  <a:pt x="74214" y="65469"/>
                </a:lnTo>
                <a:lnTo>
                  <a:pt x="66443" y="67409"/>
                </a:lnTo>
                <a:lnTo>
                  <a:pt x="59998" y="72307"/>
                </a:lnTo>
                <a:lnTo>
                  <a:pt x="55601" y="78787"/>
                </a:lnTo>
                <a:lnTo>
                  <a:pt x="53975" y="85469"/>
                </a:lnTo>
                <a:lnTo>
                  <a:pt x="53975" y="192135"/>
                </a:lnTo>
                <a:lnTo>
                  <a:pt x="55647" y="199677"/>
                </a:lnTo>
                <a:lnTo>
                  <a:pt x="60121" y="206061"/>
                </a:lnTo>
                <a:lnTo>
                  <a:pt x="66581" y="210481"/>
                </a:lnTo>
                <a:lnTo>
                  <a:pt x="74214" y="212134"/>
                </a:lnTo>
                <a:lnTo>
                  <a:pt x="357585" y="212134"/>
                </a:lnTo>
                <a:lnTo>
                  <a:pt x="365218" y="210481"/>
                </a:lnTo>
                <a:lnTo>
                  <a:pt x="371678" y="206061"/>
                </a:lnTo>
                <a:lnTo>
                  <a:pt x="376152" y="199677"/>
                </a:lnTo>
                <a:lnTo>
                  <a:pt x="377825" y="192135"/>
                </a:lnTo>
                <a:lnTo>
                  <a:pt x="377825" y="172134"/>
                </a:lnTo>
                <a:lnTo>
                  <a:pt x="94456" y="172134"/>
                </a:lnTo>
                <a:lnTo>
                  <a:pt x="94456" y="105468"/>
                </a:lnTo>
                <a:lnTo>
                  <a:pt x="377825" y="105468"/>
                </a:lnTo>
                <a:lnTo>
                  <a:pt x="377825" y="85469"/>
                </a:lnTo>
                <a:lnTo>
                  <a:pt x="376152" y="77926"/>
                </a:lnTo>
                <a:lnTo>
                  <a:pt x="371678" y="71542"/>
                </a:lnTo>
                <a:lnTo>
                  <a:pt x="365218" y="67122"/>
                </a:lnTo>
                <a:lnTo>
                  <a:pt x="357585" y="65469"/>
                </a:lnTo>
                <a:close/>
              </a:path>
              <a:path w="431800" h="558800">
                <a:moveTo>
                  <a:pt x="377825" y="105468"/>
                </a:moveTo>
                <a:lnTo>
                  <a:pt x="337343" y="105468"/>
                </a:lnTo>
                <a:lnTo>
                  <a:pt x="337343" y="172134"/>
                </a:lnTo>
                <a:lnTo>
                  <a:pt x="377825" y="172134"/>
                </a:lnTo>
                <a:lnTo>
                  <a:pt x="377825" y="10546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33" name="object 33"/>
          <p:cNvSpPr/>
          <p:nvPr/>
        </p:nvSpPr>
        <p:spPr>
          <a:xfrm>
            <a:off x="10183181" y="1491384"/>
            <a:ext cx="714375" cy="714375"/>
          </a:xfrm>
          <a:custGeom>
            <a:avLst/>
            <a:gdLst/>
            <a:ahLst/>
            <a:cxnLst/>
            <a:rect l="l" t="t" r="r" b="b"/>
            <a:pathLst>
              <a:path w="952500" h="952500">
                <a:moveTo>
                  <a:pt x="476167" y="0"/>
                </a:moveTo>
                <a:lnTo>
                  <a:pt x="430525" y="2179"/>
                </a:lnTo>
                <a:lnTo>
                  <a:pt x="385221" y="8716"/>
                </a:lnTo>
                <a:lnTo>
                  <a:pt x="340595" y="19612"/>
                </a:lnTo>
                <a:lnTo>
                  <a:pt x="296983" y="34866"/>
                </a:lnTo>
                <a:lnTo>
                  <a:pt x="254726" y="54478"/>
                </a:lnTo>
                <a:lnTo>
                  <a:pt x="214162" y="78449"/>
                </a:lnTo>
                <a:lnTo>
                  <a:pt x="175628" y="106778"/>
                </a:lnTo>
                <a:lnTo>
                  <a:pt x="139465" y="139466"/>
                </a:lnTo>
                <a:lnTo>
                  <a:pt x="106777" y="175630"/>
                </a:lnTo>
                <a:lnTo>
                  <a:pt x="78449" y="214163"/>
                </a:lnTo>
                <a:lnTo>
                  <a:pt x="54478" y="254727"/>
                </a:lnTo>
                <a:lnTo>
                  <a:pt x="34866" y="296984"/>
                </a:lnTo>
                <a:lnTo>
                  <a:pt x="19612" y="340595"/>
                </a:lnTo>
                <a:lnTo>
                  <a:pt x="8716" y="385222"/>
                </a:lnTo>
                <a:lnTo>
                  <a:pt x="2179" y="430525"/>
                </a:lnTo>
                <a:lnTo>
                  <a:pt x="0" y="476167"/>
                </a:lnTo>
                <a:lnTo>
                  <a:pt x="2179" y="521808"/>
                </a:lnTo>
                <a:lnTo>
                  <a:pt x="8716" y="567112"/>
                </a:lnTo>
                <a:lnTo>
                  <a:pt x="19612" y="611738"/>
                </a:lnTo>
                <a:lnTo>
                  <a:pt x="34866" y="655349"/>
                </a:lnTo>
                <a:lnTo>
                  <a:pt x="54478" y="697606"/>
                </a:lnTo>
                <a:lnTo>
                  <a:pt x="78449" y="738170"/>
                </a:lnTo>
                <a:lnTo>
                  <a:pt x="106777" y="776704"/>
                </a:lnTo>
                <a:lnTo>
                  <a:pt x="139465" y="812868"/>
                </a:lnTo>
                <a:lnTo>
                  <a:pt x="175628" y="845555"/>
                </a:lnTo>
                <a:lnTo>
                  <a:pt x="214162" y="873884"/>
                </a:lnTo>
                <a:lnTo>
                  <a:pt x="254726" y="897855"/>
                </a:lnTo>
                <a:lnTo>
                  <a:pt x="296983" y="917467"/>
                </a:lnTo>
                <a:lnTo>
                  <a:pt x="340595" y="932721"/>
                </a:lnTo>
                <a:lnTo>
                  <a:pt x="385221" y="943617"/>
                </a:lnTo>
                <a:lnTo>
                  <a:pt x="430525" y="950155"/>
                </a:lnTo>
                <a:lnTo>
                  <a:pt x="476167" y="952334"/>
                </a:lnTo>
                <a:lnTo>
                  <a:pt x="521809" y="950155"/>
                </a:lnTo>
                <a:lnTo>
                  <a:pt x="567113" y="943617"/>
                </a:lnTo>
                <a:lnTo>
                  <a:pt x="611739" y="932721"/>
                </a:lnTo>
                <a:lnTo>
                  <a:pt x="655350" y="917467"/>
                </a:lnTo>
                <a:lnTo>
                  <a:pt x="697608" y="897855"/>
                </a:lnTo>
                <a:lnTo>
                  <a:pt x="738172" y="873884"/>
                </a:lnTo>
                <a:lnTo>
                  <a:pt x="776705" y="845555"/>
                </a:lnTo>
                <a:lnTo>
                  <a:pt x="812869" y="812868"/>
                </a:lnTo>
                <a:lnTo>
                  <a:pt x="845556" y="776704"/>
                </a:lnTo>
                <a:lnTo>
                  <a:pt x="873885" y="738170"/>
                </a:lnTo>
                <a:lnTo>
                  <a:pt x="897856" y="697606"/>
                </a:lnTo>
                <a:lnTo>
                  <a:pt x="917468" y="655349"/>
                </a:lnTo>
                <a:lnTo>
                  <a:pt x="932722" y="611738"/>
                </a:lnTo>
                <a:lnTo>
                  <a:pt x="943618" y="567112"/>
                </a:lnTo>
                <a:lnTo>
                  <a:pt x="950155" y="521808"/>
                </a:lnTo>
                <a:lnTo>
                  <a:pt x="952334" y="476167"/>
                </a:lnTo>
                <a:lnTo>
                  <a:pt x="950155" y="430525"/>
                </a:lnTo>
                <a:lnTo>
                  <a:pt x="943618" y="385222"/>
                </a:lnTo>
                <a:lnTo>
                  <a:pt x="932722" y="340595"/>
                </a:lnTo>
                <a:lnTo>
                  <a:pt x="917468" y="296984"/>
                </a:lnTo>
                <a:lnTo>
                  <a:pt x="897856" y="254727"/>
                </a:lnTo>
                <a:lnTo>
                  <a:pt x="873885" y="214163"/>
                </a:lnTo>
                <a:lnTo>
                  <a:pt x="845556" y="175630"/>
                </a:lnTo>
                <a:lnTo>
                  <a:pt x="812869" y="139466"/>
                </a:lnTo>
                <a:lnTo>
                  <a:pt x="776705" y="106778"/>
                </a:lnTo>
                <a:lnTo>
                  <a:pt x="738172" y="78449"/>
                </a:lnTo>
                <a:lnTo>
                  <a:pt x="697608" y="54478"/>
                </a:lnTo>
                <a:lnTo>
                  <a:pt x="655350" y="34866"/>
                </a:lnTo>
                <a:lnTo>
                  <a:pt x="611739" y="19612"/>
                </a:lnTo>
                <a:lnTo>
                  <a:pt x="567113" y="8716"/>
                </a:lnTo>
                <a:lnTo>
                  <a:pt x="521809" y="2179"/>
                </a:lnTo>
                <a:lnTo>
                  <a:pt x="47616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34" name="object 34"/>
          <p:cNvSpPr/>
          <p:nvPr/>
        </p:nvSpPr>
        <p:spPr>
          <a:xfrm>
            <a:off x="10292649" y="1682670"/>
            <a:ext cx="493871" cy="292418"/>
          </a:xfrm>
          <a:custGeom>
            <a:avLst/>
            <a:gdLst/>
            <a:ahLst/>
            <a:cxnLst/>
            <a:rect l="l" t="t" r="r" b="b"/>
            <a:pathLst>
              <a:path w="658494" h="389889">
                <a:moveTo>
                  <a:pt x="647890" y="250507"/>
                </a:moveTo>
                <a:lnTo>
                  <a:pt x="9639" y="250507"/>
                </a:lnTo>
                <a:lnTo>
                  <a:pt x="5232" y="253039"/>
                </a:lnTo>
                <a:lnTo>
                  <a:pt x="241" y="261225"/>
                </a:lnTo>
                <a:lnTo>
                  <a:pt x="0" y="266345"/>
                </a:lnTo>
                <a:lnTo>
                  <a:pt x="59181" y="386699"/>
                </a:lnTo>
                <a:lnTo>
                  <a:pt x="63919" y="389677"/>
                </a:lnTo>
                <a:lnTo>
                  <a:pt x="503504" y="389677"/>
                </a:lnTo>
                <a:lnTo>
                  <a:pt x="555675" y="380723"/>
                </a:lnTo>
                <a:lnTo>
                  <a:pt x="589699" y="361844"/>
                </a:lnTo>
                <a:lnTo>
                  <a:pt x="77546" y="361844"/>
                </a:lnTo>
                <a:lnTo>
                  <a:pt x="36499" y="278342"/>
                </a:lnTo>
                <a:lnTo>
                  <a:pt x="652411" y="278342"/>
                </a:lnTo>
                <a:lnTo>
                  <a:pt x="656945" y="267792"/>
                </a:lnTo>
                <a:lnTo>
                  <a:pt x="657961" y="263617"/>
                </a:lnTo>
                <a:lnTo>
                  <a:pt x="657047" y="259219"/>
                </a:lnTo>
                <a:lnTo>
                  <a:pt x="651852" y="252484"/>
                </a:lnTo>
                <a:lnTo>
                  <a:pt x="647890" y="250507"/>
                </a:lnTo>
                <a:close/>
              </a:path>
              <a:path w="658494" h="389889">
                <a:moveTo>
                  <a:pt x="652411" y="278342"/>
                </a:moveTo>
                <a:lnTo>
                  <a:pt x="624903" y="278342"/>
                </a:lnTo>
                <a:lnTo>
                  <a:pt x="605252" y="312466"/>
                </a:lnTo>
                <a:lnTo>
                  <a:pt x="577119" y="338829"/>
                </a:lnTo>
                <a:lnTo>
                  <a:pt x="542528" y="355823"/>
                </a:lnTo>
                <a:lnTo>
                  <a:pt x="503504" y="361844"/>
                </a:lnTo>
                <a:lnTo>
                  <a:pt x="589699" y="361844"/>
                </a:lnTo>
                <a:lnTo>
                  <a:pt x="600875" y="355643"/>
                </a:lnTo>
                <a:lnTo>
                  <a:pt x="635749" y="317109"/>
                </a:lnTo>
                <a:lnTo>
                  <a:pt x="652411" y="278342"/>
                </a:lnTo>
                <a:close/>
              </a:path>
              <a:path w="658494" h="389889">
                <a:moveTo>
                  <a:pt x="158724" y="306175"/>
                </a:moveTo>
                <a:lnTo>
                  <a:pt x="143624" y="306175"/>
                </a:lnTo>
                <a:lnTo>
                  <a:pt x="137490" y="312411"/>
                </a:lnTo>
                <a:lnTo>
                  <a:pt x="137490" y="327774"/>
                </a:lnTo>
                <a:lnTo>
                  <a:pt x="143624" y="334009"/>
                </a:lnTo>
                <a:lnTo>
                  <a:pt x="158724" y="334009"/>
                </a:lnTo>
                <a:lnTo>
                  <a:pt x="164858" y="327774"/>
                </a:lnTo>
                <a:lnTo>
                  <a:pt x="164858" y="312411"/>
                </a:lnTo>
                <a:lnTo>
                  <a:pt x="158724" y="306175"/>
                </a:lnTo>
                <a:close/>
              </a:path>
              <a:path w="658494" h="389889">
                <a:moveTo>
                  <a:pt x="268173" y="306175"/>
                </a:moveTo>
                <a:lnTo>
                  <a:pt x="253060" y="306175"/>
                </a:lnTo>
                <a:lnTo>
                  <a:pt x="246938" y="312411"/>
                </a:lnTo>
                <a:lnTo>
                  <a:pt x="246938" y="327774"/>
                </a:lnTo>
                <a:lnTo>
                  <a:pt x="253060" y="334009"/>
                </a:lnTo>
                <a:lnTo>
                  <a:pt x="268173" y="334009"/>
                </a:lnTo>
                <a:lnTo>
                  <a:pt x="274294" y="327774"/>
                </a:lnTo>
                <a:lnTo>
                  <a:pt x="274294" y="312411"/>
                </a:lnTo>
                <a:lnTo>
                  <a:pt x="268173" y="306175"/>
                </a:lnTo>
                <a:close/>
              </a:path>
              <a:path w="658494" h="389889">
                <a:moveTo>
                  <a:pt x="377609" y="306175"/>
                </a:moveTo>
                <a:lnTo>
                  <a:pt x="362508" y="306175"/>
                </a:lnTo>
                <a:lnTo>
                  <a:pt x="356374" y="312411"/>
                </a:lnTo>
                <a:lnTo>
                  <a:pt x="356374" y="327774"/>
                </a:lnTo>
                <a:lnTo>
                  <a:pt x="362508" y="334009"/>
                </a:lnTo>
                <a:lnTo>
                  <a:pt x="377609" y="334009"/>
                </a:lnTo>
                <a:lnTo>
                  <a:pt x="383743" y="327774"/>
                </a:lnTo>
                <a:lnTo>
                  <a:pt x="383743" y="312411"/>
                </a:lnTo>
                <a:lnTo>
                  <a:pt x="377609" y="306175"/>
                </a:lnTo>
                <a:close/>
              </a:path>
              <a:path w="658494" h="389889">
                <a:moveTo>
                  <a:pt x="487057" y="306175"/>
                </a:moveTo>
                <a:lnTo>
                  <a:pt x="471957" y="306175"/>
                </a:lnTo>
                <a:lnTo>
                  <a:pt x="465823" y="312411"/>
                </a:lnTo>
                <a:lnTo>
                  <a:pt x="465823" y="327774"/>
                </a:lnTo>
                <a:lnTo>
                  <a:pt x="471957" y="334009"/>
                </a:lnTo>
                <a:lnTo>
                  <a:pt x="487057" y="334009"/>
                </a:lnTo>
                <a:lnTo>
                  <a:pt x="493191" y="327774"/>
                </a:lnTo>
                <a:lnTo>
                  <a:pt x="493191" y="312411"/>
                </a:lnTo>
                <a:lnTo>
                  <a:pt x="487057" y="306175"/>
                </a:lnTo>
                <a:close/>
              </a:path>
              <a:path w="658494" h="389889">
                <a:moveTo>
                  <a:pt x="596506" y="167004"/>
                </a:moveTo>
                <a:lnTo>
                  <a:pt x="253060" y="167004"/>
                </a:lnTo>
                <a:lnTo>
                  <a:pt x="246938" y="173240"/>
                </a:lnTo>
                <a:lnTo>
                  <a:pt x="246938" y="250507"/>
                </a:lnTo>
                <a:lnTo>
                  <a:pt x="274294" y="250507"/>
                </a:lnTo>
                <a:lnTo>
                  <a:pt x="274294" y="194839"/>
                </a:lnTo>
                <a:lnTo>
                  <a:pt x="602627" y="194839"/>
                </a:lnTo>
                <a:lnTo>
                  <a:pt x="602627" y="173240"/>
                </a:lnTo>
                <a:lnTo>
                  <a:pt x="596506" y="167004"/>
                </a:lnTo>
                <a:close/>
              </a:path>
              <a:path w="658494" h="389889">
                <a:moveTo>
                  <a:pt x="383743" y="194839"/>
                </a:moveTo>
                <a:lnTo>
                  <a:pt x="356374" y="194839"/>
                </a:lnTo>
                <a:lnTo>
                  <a:pt x="356374" y="250507"/>
                </a:lnTo>
                <a:lnTo>
                  <a:pt x="383743" y="250507"/>
                </a:lnTo>
                <a:lnTo>
                  <a:pt x="383743" y="194839"/>
                </a:lnTo>
                <a:close/>
              </a:path>
              <a:path w="658494" h="389889">
                <a:moveTo>
                  <a:pt x="493191" y="194839"/>
                </a:moveTo>
                <a:lnTo>
                  <a:pt x="465823" y="194839"/>
                </a:lnTo>
                <a:lnTo>
                  <a:pt x="465823" y="250507"/>
                </a:lnTo>
                <a:lnTo>
                  <a:pt x="493191" y="250507"/>
                </a:lnTo>
                <a:lnTo>
                  <a:pt x="493191" y="194839"/>
                </a:lnTo>
                <a:close/>
              </a:path>
              <a:path w="658494" h="389889">
                <a:moveTo>
                  <a:pt x="602627" y="194839"/>
                </a:moveTo>
                <a:lnTo>
                  <a:pt x="575271" y="194839"/>
                </a:lnTo>
                <a:lnTo>
                  <a:pt x="575271" y="250507"/>
                </a:lnTo>
                <a:lnTo>
                  <a:pt x="602627" y="250507"/>
                </a:lnTo>
                <a:lnTo>
                  <a:pt x="602627" y="194839"/>
                </a:lnTo>
                <a:close/>
              </a:path>
              <a:path w="658494" h="389889">
                <a:moveTo>
                  <a:pt x="541781" y="83502"/>
                </a:moveTo>
                <a:lnTo>
                  <a:pt x="307784" y="83502"/>
                </a:lnTo>
                <a:lnTo>
                  <a:pt x="301663" y="89738"/>
                </a:lnTo>
                <a:lnTo>
                  <a:pt x="301663" y="167004"/>
                </a:lnTo>
                <a:lnTo>
                  <a:pt x="329018" y="167004"/>
                </a:lnTo>
                <a:lnTo>
                  <a:pt x="329018" y="111337"/>
                </a:lnTo>
                <a:lnTo>
                  <a:pt x="547916" y="111337"/>
                </a:lnTo>
                <a:lnTo>
                  <a:pt x="547916" y="89738"/>
                </a:lnTo>
                <a:lnTo>
                  <a:pt x="541781" y="83502"/>
                </a:lnTo>
                <a:close/>
              </a:path>
              <a:path w="658494" h="389889">
                <a:moveTo>
                  <a:pt x="438467" y="111337"/>
                </a:moveTo>
                <a:lnTo>
                  <a:pt x="411098" y="111337"/>
                </a:lnTo>
                <a:lnTo>
                  <a:pt x="411098" y="167004"/>
                </a:lnTo>
                <a:lnTo>
                  <a:pt x="438467" y="167004"/>
                </a:lnTo>
                <a:lnTo>
                  <a:pt x="438467" y="111337"/>
                </a:lnTo>
                <a:close/>
              </a:path>
              <a:path w="658494" h="389889">
                <a:moveTo>
                  <a:pt x="547916" y="111337"/>
                </a:moveTo>
                <a:lnTo>
                  <a:pt x="520547" y="111337"/>
                </a:lnTo>
                <a:lnTo>
                  <a:pt x="520547" y="167004"/>
                </a:lnTo>
                <a:lnTo>
                  <a:pt x="547916" y="167004"/>
                </a:lnTo>
                <a:lnTo>
                  <a:pt x="547916" y="111337"/>
                </a:lnTo>
                <a:close/>
              </a:path>
              <a:path w="658494" h="389889">
                <a:moveTo>
                  <a:pt x="487057" y="0"/>
                </a:moveTo>
                <a:lnTo>
                  <a:pt x="362508" y="0"/>
                </a:lnTo>
                <a:lnTo>
                  <a:pt x="356374" y="6235"/>
                </a:lnTo>
                <a:lnTo>
                  <a:pt x="356374" y="83502"/>
                </a:lnTo>
                <a:lnTo>
                  <a:pt x="383743" y="83502"/>
                </a:lnTo>
                <a:lnTo>
                  <a:pt x="383743" y="27834"/>
                </a:lnTo>
                <a:lnTo>
                  <a:pt x="493191" y="27834"/>
                </a:lnTo>
                <a:lnTo>
                  <a:pt x="493191" y="6235"/>
                </a:lnTo>
                <a:lnTo>
                  <a:pt x="487057" y="0"/>
                </a:lnTo>
                <a:close/>
              </a:path>
              <a:path w="658494" h="389889">
                <a:moveTo>
                  <a:pt x="493191" y="27834"/>
                </a:moveTo>
                <a:lnTo>
                  <a:pt x="465823" y="27834"/>
                </a:lnTo>
                <a:lnTo>
                  <a:pt x="465823" y="83502"/>
                </a:lnTo>
                <a:lnTo>
                  <a:pt x="493191" y="83502"/>
                </a:lnTo>
                <a:lnTo>
                  <a:pt x="493191" y="27834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35" name="object 35"/>
          <p:cNvSpPr/>
          <p:nvPr/>
        </p:nvSpPr>
        <p:spPr>
          <a:xfrm>
            <a:off x="10477851" y="1912301"/>
            <a:ext cx="20955" cy="20955"/>
          </a:xfrm>
          <a:custGeom>
            <a:avLst/>
            <a:gdLst/>
            <a:ahLst/>
            <a:cxnLst/>
            <a:rect l="l" t="t" r="r" b="b"/>
            <a:pathLst>
              <a:path w="27940" h="27939">
                <a:moveTo>
                  <a:pt x="13680" y="27834"/>
                </a:moveTo>
                <a:lnTo>
                  <a:pt x="21232" y="27834"/>
                </a:lnTo>
                <a:lnTo>
                  <a:pt x="27360" y="21599"/>
                </a:lnTo>
                <a:lnTo>
                  <a:pt x="27360" y="13918"/>
                </a:lnTo>
                <a:lnTo>
                  <a:pt x="27360" y="6235"/>
                </a:lnTo>
                <a:lnTo>
                  <a:pt x="21232" y="0"/>
                </a:lnTo>
                <a:lnTo>
                  <a:pt x="13680" y="0"/>
                </a:lnTo>
                <a:lnTo>
                  <a:pt x="6127" y="0"/>
                </a:lnTo>
                <a:lnTo>
                  <a:pt x="0" y="6235"/>
                </a:lnTo>
                <a:lnTo>
                  <a:pt x="0" y="13918"/>
                </a:lnTo>
                <a:lnTo>
                  <a:pt x="0" y="21599"/>
                </a:lnTo>
                <a:lnTo>
                  <a:pt x="6127" y="27834"/>
                </a:lnTo>
                <a:lnTo>
                  <a:pt x="13680" y="27834"/>
                </a:lnTo>
                <a:close/>
              </a:path>
            </a:pathLst>
          </a:custGeom>
          <a:ln w="16577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36" name="object 36"/>
          <p:cNvSpPr/>
          <p:nvPr/>
        </p:nvSpPr>
        <p:spPr>
          <a:xfrm>
            <a:off x="10559933" y="1912301"/>
            <a:ext cx="20955" cy="20955"/>
          </a:xfrm>
          <a:custGeom>
            <a:avLst/>
            <a:gdLst/>
            <a:ahLst/>
            <a:cxnLst/>
            <a:rect l="l" t="t" r="r" b="b"/>
            <a:pathLst>
              <a:path w="27940" h="27939">
                <a:moveTo>
                  <a:pt x="13681" y="27834"/>
                </a:moveTo>
                <a:lnTo>
                  <a:pt x="21232" y="27834"/>
                </a:lnTo>
                <a:lnTo>
                  <a:pt x="27361" y="21599"/>
                </a:lnTo>
                <a:lnTo>
                  <a:pt x="27361" y="13918"/>
                </a:lnTo>
                <a:lnTo>
                  <a:pt x="27361" y="6235"/>
                </a:lnTo>
                <a:lnTo>
                  <a:pt x="21232" y="0"/>
                </a:lnTo>
                <a:lnTo>
                  <a:pt x="13681" y="0"/>
                </a:lnTo>
                <a:lnTo>
                  <a:pt x="6129" y="0"/>
                </a:lnTo>
                <a:lnTo>
                  <a:pt x="0" y="6235"/>
                </a:lnTo>
                <a:lnTo>
                  <a:pt x="0" y="13918"/>
                </a:lnTo>
                <a:lnTo>
                  <a:pt x="0" y="21599"/>
                </a:lnTo>
                <a:lnTo>
                  <a:pt x="6129" y="27834"/>
                </a:lnTo>
                <a:lnTo>
                  <a:pt x="13681" y="27834"/>
                </a:lnTo>
                <a:close/>
              </a:path>
            </a:pathLst>
          </a:custGeom>
          <a:ln w="16577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37" name="object 37"/>
          <p:cNvSpPr/>
          <p:nvPr/>
        </p:nvSpPr>
        <p:spPr>
          <a:xfrm>
            <a:off x="10320024" y="1891427"/>
            <a:ext cx="441484" cy="62865"/>
          </a:xfrm>
          <a:custGeom>
            <a:avLst/>
            <a:gdLst/>
            <a:ahLst/>
            <a:cxnLst/>
            <a:rect l="l" t="t" r="r" b="b"/>
            <a:pathLst>
              <a:path w="588644" h="83819">
                <a:moveTo>
                  <a:pt x="467000" y="83502"/>
                </a:moveTo>
                <a:lnTo>
                  <a:pt x="41041" y="83502"/>
                </a:lnTo>
                <a:lnTo>
                  <a:pt x="0" y="0"/>
                </a:lnTo>
                <a:lnTo>
                  <a:pt x="588402" y="0"/>
                </a:lnTo>
                <a:lnTo>
                  <a:pt x="568752" y="34124"/>
                </a:lnTo>
                <a:lnTo>
                  <a:pt x="540619" y="60486"/>
                </a:lnTo>
                <a:lnTo>
                  <a:pt x="506027" y="77481"/>
                </a:lnTo>
                <a:lnTo>
                  <a:pt x="467000" y="83502"/>
                </a:lnTo>
                <a:close/>
              </a:path>
            </a:pathLst>
          </a:custGeom>
          <a:ln w="16716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38" name="object 38"/>
          <p:cNvSpPr/>
          <p:nvPr/>
        </p:nvSpPr>
        <p:spPr>
          <a:xfrm>
            <a:off x="10498370" y="1828800"/>
            <a:ext cx="61913" cy="41910"/>
          </a:xfrm>
          <a:custGeom>
            <a:avLst/>
            <a:gdLst/>
            <a:ahLst/>
            <a:cxnLst/>
            <a:rect l="l" t="t" r="r" b="b"/>
            <a:pathLst>
              <a:path w="82550" h="55880">
                <a:moveTo>
                  <a:pt x="0" y="0"/>
                </a:moveTo>
                <a:lnTo>
                  <a:pt x="82083" y="0"/>
                </a:lnTo>
                <a:lnTo>
                  <a:pt x="82083" y="55667"/>
                </a:lnTo>
                <a:lnTo>
                  <a:pt x="0" y="55667"/>
                </a:lnTo>
                <a:lnTo>
                  <a:pt x="0" y="0"/>
                </a:lnTo>
                <a:close/>
              </a:path>
            </a:pathLst>
          </a:custGeom>
          <a:ln w="1663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39" name="object 39"/>
          <p:cNvSpPr/>
          <p:nvPr/>
        </p:nvSpPr>
        <p:spPr>
          <a:xfrm>
            <a:off x="10539413" y="1766173"/>
            <a:ext cx="61913" cy="41910"/>
          </a:xfrm>
          <a:custGeom>
            <a:avLst/>
            <a:gdLst/>
            <a:ahLst/>
            <a:cxnLst/>
            <a:rect l="l" t="t" r="r" b="b"/>
            <a:pathLst>
              <a:path w="82550" h="55880">
                <a:moveTo>
                  <a:pt x="0" y="0"/>
                </a:moveTo>
                <a:lnTo>
                  <a:pt x="82083" y="0"/>
                </a:lnTo>
                <a:lnTo>
                  <a:pt x="82083" y="55667"/>
                </a:lnTo>
                <a:lnTo>
                  <a:pt x="0" y="55667"/>
                </a:lnTo>
                <a:lnTo>
                  <a:pt x="0" y="0"/>
                </a:lnTo>
                <a:close/>
              </a:path>
            </a:pathLst>
          </a:custGeom>
          <a:ln w="1663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40" name="object 40"/>
          <p:cNvSpPr/>
          <p:nvPr/>
        </p:nvSpPr>
        <p:spPr>
          <a:xfrm>
            <a:off x="10580455" y="1703546"/>
            <a:ext cx="61913" cy="41910"/>
          </a:xfrm>
          <a:custGeom>
            <a:avLst/>
            <a:gdLst/>
            <a:ahLst/>
            <a:cxnLst/>
            <a:rect l="l" t="t" r="r" b="b"/>
            <a:pathLst>
              <a:path w="82550" h="55880">
                <a:moveTo>
                  <a:pt x="0" y="0"/>
                </a:moveTo>
                <a:lnTo>
                  <a:pt x="82083" y="0"/>
                </a:lnTo>
                <a:lnTo>
                  <a:pt x="82083" y="55667"/>
                </a:lnTo>
                <a:lnTo>
                  <a:pt x="0" y="55667"/>
                </a:lnTo>
                <a:lnTo>
                  <a:pt x="0" y="0"/>
                </a:lnTo>
                <a:close/>
              </a:path>
            </a:pathLst>
          </a:custGeom>
          <a:ln w="1663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41" name="object 41"/>
          <p:cNvSpPr/>
          <p:nvPr/>
        </p:nvSpPr>
        <p:spPr>
          <a:xfrm>
            <a:off x="10580455" y="1828800"/>
            <a:ext cx="61913" cy="41910"/>
          </a:xfrm>
          <a:custGeom>
            <a:avLst/>
            <a:gdLst/>
            <a:ahLst/>
            <a:cxnLst/>
            <a:rect l="l" t="t" r="r" b="b"/>
            <a:pathLst>
              <a:path w="82550" h="55880">
                <a:moveTo>
                  <a:pt x="82083" y="55667"/>
                </a:moveTo>
                <a:lnTo>
                  <a:pt x="0" y="55667"/>
                </a:lnTo>
                <a:lnTo>
                  <a:pt x="0" y="0"/>
                </a:lnTo>
                <a:lnTo>
                  <a:pt x="82083" y="0"/>
                </a:lnTo>
                <a:lnTo>
                  <a:pt x="82083" y="55667"/>
                </a:lnTo>
                <a:close/>
              </a:path>
            </a:pathLst>
          </a:custGeom>
          <a:ln w="1663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42" name="object 42"/>
          <p:cNvSpPr/>
          <p:nvPr/>
        </p:nvSpPr>
        <p:spPr>
          <a:xfrm>
            <a:off x="10621497" y="1766173"/>
            <a:ext cx="61913" cy="41910"/>
          </a:xfrm>
          <a:custGeom>
            <a:avLst/>
            <a:gdLst/>
            <a:ahLst/>
            <a:cxnLst/>
            <a:rect l="l" t="t" r="r" b="b"/>
            <a:pathLst>
              <a:path w="82550" h="55880">
                <a:moveTo>
                  <a:pt x="82083" y="55667"/>
                </a:moveTo>
                <a:lnTo>
                  <a:pt x="0" y="55667"/>
                </a:lnTo>
                <a:lnTo>
                  <a:pt x="0" y="0"/>
                </a:lnTo>
                <a:lnTo>
                  <a:pt x="82083" y="0"/>
                </a:lnTo>
                <a:lnTo>
                  <a:pt x="82083" y="55667"/>
                </a:lnTo>
                <a:close/>
              </a:path>
            </a:pathLst>
          </a:custGeom>
          <a:ln w="1663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43" name="object 43"/>
          <p:cNvSpPr/>
          <p:nvPr/>
        </p:nvSpPr>
        <p:spPr>
          <a:xfrm>
            <a:off x="10662538" y="1828800"/>
            <a:ext cx="61913" cy="41910"/>
          </a:xfrm>
          <a:custGeom>
            <a:avLst/>
            <a:gdLst/>
            <a:ahLst/>
            <a:cxnLst/>
            <a:rect l="l" t="t" r="r" b="b"/>
            <a:pathLst>
              <a:path w="82550" h="55880">
                <a:moveTo>
                  <a:pt x="82083" y="55667"/>
                </a:moveTo>
                <a:lnTo>
                  <a:pt x="0" y="55667"/>
                </a:lnTo>
                <a:lnTo>
                  <a:pt x="0" y="0"/>
                </a:lnTo>
                <a:lnTo>
                  <a:pt x="82083" y="0"/>
                </a:lnTo>
                <a:lnTo>
                  <a:pt x="82083" y="55667"/>
                </a:lnTo>
                <a:close/>
              </a:path>
            </a:pathLst>
          </a:custGeom>
          <a:ln w="1663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44" name="object 44"/>
          <p:cNvSpPr/>
          <p:nvPr/>
        </p:nvSpPr>
        <p:spPr>
          <a:xfrm>
            <a:off x="10292649" y="1682670"/>
            <a:ext cx="493871" cy="292418"/>
          </a:xfrm>
          <a:custGeom>
            <a:avLst/>
            <a:gdLst/>
            <a:ahLst/>
            <a:cxnLst/>
            <a:rect l="l" t="t" r="r" b="b"/>
            <a:pathLst>
              <a:path w="658494" h="389889">
                <a:moveTo>
                  <a:pt x="654453" y="255851"/>
                </a:moveTo>
                <a:lnTo>
                  <a:pt x="651854" y="252484"/>
                </a:lnTo>
                <a:lnTo>
                  <a:pt x="647887" y="250507"/>
                </a:lnTo>
                <a:lnTo>
                  <a:pt x="643674" y="250507"/>
                </a:lnTo>
                <a:lnTo>
                  <a:pt x="602632" y="250507"/>
                </a:lnTo>
                <a:lnTo>
                  <a:pt x="602632" y="180923"/>
                </a:lnTo>
                <a:lnTo>
                  <a:pt x="602632" y="173240"/>
                </a:lnTo>
                <a:lnTo>
                  <a:pt x="596502" y="167005"/>
                </a:lnTo>
                <a:lnTo>
                  <a:pt x="588952" y="167005"/>
                </a:lnTo>
                <a:lnTo>
                  <a:pt x="547910" y="167005"/>
                </a:lnTo>
                <a:lnTo>
                  <a:pt x="547910" y="97420"/>
                </a:lnTo>
                <a:lnTo>
                  <a:pt x="547910" y="89738"/>
                </a:lnTo>
                <a:lnTo>
                  <a:pt x="541780" y="83502"/>
                </a:lnTo>
                <a:lnTo>
                  <a:pt x="534228" y="83502"/>
                </a:lnTo>
                <a:lnTo>
                  <a:pt x="493186" y="83502"/>
                </a:lnTo>
                <a:lnTo>
                  <a:pt x="493186" y="13918"/>
                </a:lnTo>
                <a:lnTo>
                  <a:pt x="493186" y="6235"/>
                </a:lnTo>
                <a:lnTo>
                  <a:pt x="487058" y="0"/>
                </a:lnTo>
                <a:lnTo>
                  <a:pt x="479506" y="0"/>
                </a:lnTo>
                <a:lnTo>
                  <a:pt x="370062" y="0"/>
                </a:lnTo>
                <a:lnTo>
                  <a:pt x="362510" y="0"/>
                </a:lnTo>
                <a:lnTo>
                  <a:pt x="356380" y="6235"/>
                </a:lnTo>
                <a:lnTo>
                  <a:pt x="356380" y="13918"/>
                </a:lnTo>
                <a:lnTo>
                  <a:pt x="356380" y="83502"/>
                </a:lnTo>
                <a:lnTo>
                  <a:pt x="315338" y="83502"/>
                </a:lnTo>
                <a:lnTo>
                  <a:pt x="307788" y="83502"/>
                </a:lnTo>
                <a:lnTo>
                  <a:pt x="301658" y="89738"/>
                </a:lnTo>
                <a:lnTo>
                  <a:pt x="301658" y="97420"/>
                </a:lnTo>
                <a:lnTo>
                  <a:pt x="301658" y="167005"/>
                </a:lnTo>
                <a:lnTo>
                  <a:pt x="260616" y="167005"/>
                </a:lnTo>
                <a:lnTo>
                  <a:pt x="253064" y="167005"/>
                </a:lnTo>
                <a:lnTo>
                  <a:pt x="246936" y="173240"/>
                </a:lnTo>
                <a:lnTo>
                  <a:pt x="246936" y="180923"/>
                </a:lnTo>
                <a:lnTo>
                  <a:pt x="246936" y="250507"/>
                </a:lnTo>
                <a:lnTo>
                  <a:pt x="14364" y="250507"/>
                </a:lnTo>
                <a:lnTo>
                  <a:pt x="9632" y="250507"/>
                </a:lnTo>
                <a:lnTo>
                  <a:pt x="5227" y="253040"/>
                </a:lnTo>
                <a:lnTo>
                  <a:pt x="2737" y="257131"/>
                </a:lnTo>
                <a:lnTo>
                  <a:pt x="246" y="261224"/>
                </a:lnTo>
                <a:lnTo>
                  <a:pt x="0" y="266345"/>
                </a:lnTo>
                <a:lnTo>
                  <a:pt x="2135" y="270659"/>
                </a:lnTo>
                <a:lnTo>
                  <a:pt x="56857" y="381997"/>
                </a:lnTo>
                <a:lnTo>
                  <a:pt x="59183" y="386699"/>
                </a:lnTo>
                <a:lnTo>
                  <a:pt x="63916" y="389678"/>
                </a:lnTo>
                <a:lnTo>
                  <a:pt x="69088" y="389678"/>
                </a:lnTo>
                <a:lnTo>
                  <a:pt x="503502" y="389678"/>
                </a:lnTo>
                <a:lnTo>
                  <a:pt x="555677" y="380724"/>
                </a:lnTo>
                <a:lnTo>
                  <a:pt x="600877" y="355643"/>
                </a:lnTo>
                <a:lnTo>
                  <a:pt x="635750" y="317109"/>
                </a:lnTo>
                <a:lnTo>
                  <a:pt x="656943" y="267792"/>
                </a:lnTo>
                <a:lnTo>
                  <a:pt x="657956" y="263617"/>
                </a:lnTo>
                <a:lnTo>
                  <a:pt x="657052" y="259219"/>
                </a:lnTo>
                <a:lnTo>
                  <a:pt x="654453" y="255851"/>
                </a:lnTo>
                <a:close/>
              </a:path>
            </a:pathLst>
          </a:custGeom>
          <a:ln w="16648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45" name="object 45"/>
          <p:cNvSpPr/>
          <p:nvPr/>
        </p:nvSpPr>
        <p:spPr>
          <a:xfrm>
            <a:off x="10642018" y="1912301"/>
            <a:ext cx="20955" cy="20955"/>
          </a:xfrm>
          <a:custGeom>
            <a:avLst/>
            <a:gdLst/>
            <a:ahLst/>
            <a:cxnLst/>
            <a:rect l="l" t="t" r="r" b="b"/>
            <a:pathLst>
              <a:path w="27940" h="27939">
                <a:moveTo>
                  <a:pt x="13680" y="27834"/>
                </a:moveTo>
                <a:lnTo>
                  <a:pt x="21232" y="27834"/>
                </a:lnTo>
                <a:lnTo>
                  <a:pt x="27360" y="21599"/>
                </a:lnTo>
                <a:lnTo>
                  <a:pt x="27360" y="13918"/>
                </a:lnTo>
                <a:lnTo>
                  <a:pt x="27360" y="6235"/>
                </a:lnTo>
                <a:lnTo>
                  <a:pt x="21232" y="0"/>
                </a:lnTo>
                <a:lnTo>
                  <a:pt x="13680" y="0"/>
                </a:lnTo>
                <a:lnTo>
                  <a:pt x="6127" y="0"/>
                </a:lnTo>
                <a:lnTo>
                  <a:pt x="0" y="6235"/>
                </a:lnTo>
                <a:lnTo>
                  <a:pt x="0" y="13918"/>
                </a:lnTo>
                <a:lnTo>
                  <a:pt x="0" y="21599"/>
                </a:lnTo>
                <a:lnTo>
                  <a:pt x="6127" y="27834"/>
                </a:lnTo>
                <a:lnTo>
                  <a:pt x="13680" y="27834"/>
                </a:lnTo>
                <a:close/>
              </a:path>
            </a:pathLst>
          </a:custGeom>
          <a:ln w="16577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46" name="object 46"/>
          <p:cNvSpPr/>
          <p:nvPr/>
        </p:nvSpPr>
        <p:spPr>
          <a:xfrm>
            <a:off x="10395767" y="1912301"/>
            <a:ext cx="20955" cy="20955"/>
          </a:xfrm>
          <a:custGeom>
            <a:avLst/>
            <a:gdLst/>
            <a:ahLst/>
            <a:cxnLst/>
            <a:rect l="l" t="t" r="r" b="b"/>
            <a:pathLst>
              <a:path w="27940" h="27939">
                <a:moveTo>
                  <a:pt x="13680" y="27834"/>
                </a:moveTo>
                <a:lnTo>
                  <a:pt x="21232" y="27834"/>
                </a:lnTo>
                <a:lnTo>
                  <a:pt x="27361" y="21599"/>
                </a:lnTo>
                <a:lnTo>
                  <a:pt x="27361" y="13918"/>
                </a:lnTo>
                <a:lnTo>
                  <a:pt x="27361" y="6235"/>
                </a:lnTo>
                <a:lnTo>
                  <a:pt x="21232" y="0"/>
                </a:lnTo>
                <a:lnTo>
                  <a:pt x="13680" y="0"/>
                </a:lnTo>
                <a:lnTo>
                  <a:pt x="6129" y="0"/>
                </a:lnTo>
                <a:lnTo>
                  <a:pt x="0" y="6235"/>
                </a:lnTo>
                <a:lnTo>
                  <a:pt x="0" y="13918"/>
                </a:lnTo>
                <a:lnTo>
                  <a:pt x="0" y="21599"/>
                </a:lnTo>
                <a:lnTo>
                  <a:pt x="6129" y="27834"/>
                </a:lnTo>
                <a:lnTo>
                  <a:pt x="13680" y="27834"/>
                </a:lnTo>
                <a:close/>
              </a:path>
            </a:pathLst>
          </a:custGeom>
          <a:ln w="16577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47" name="object 47"/>
          <p:cNvSpPr/>
          <p:nvPr/>
        </p:nvSpPr>
        <p:spPr>
          <a:xfrm>
            <a:off x="10848975" y="6419850"/>
            <a:ext cx="1009650" cy="209550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48" name="object 48"/>
          <p:cNvSpPr/>
          <p:nvPr/>
        </p:nvSpPr>
        <p:spPr>
          <a:xfrm>
            <a:off x="3524250" y="2581275"/>
            <a:ext cx="485775" cy="48577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49" name="object 49"/>
          <p:cNvSpPr/>
          <p:nvPr/>
        </p:nvSpPr>
        <p:spPr>
          <a:xfrm>
            <a:off x="4076700" y="2581275"/>
            <a:ext cx="485775" cy="48577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50" name="object 50"/>
          <p:cNvSpPr/>
          <p:nvPr/>
        </p:nvSpPr>
        <p:spPr>
          <a:xfrm>
            <a:off x="4629150" y="2581275"/>
            <a:ext cx="485775" cy="48577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51" name="object 51"/>
          <p:cNvSpPr/>
          <p:nvPr/>
        </p:nvSpPr>
        <p:spPr>
          <a:xfrm>
            <a:off x="3524250" y="3143250"/>
            <a:ext cx="485775" cy="48577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52" name="object 52"/>
          <p:cNvSpPr/>
          <p:nvPr/>
        </p:nvSpPr>
        <p:spPr>
          <a:xfrm>
            <a:off x="4076700" y="3143250"/>
            <a:ext cx="485775" cy="48577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53" name="object 53"/>
          <p:cNvSpPr/>
          <p:nvPr/>
        </p:nvSpPr>
        <p:spPr>
          <a:xfrm>
            <a:off x="4629150" y="3143250"/>
            <a:ext cx="485775" cy="48577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54" name="object 54"/>
          <p:cNvSpPr/>
          <p:nvPr/>
        </p:nvSpPr>
        <p:spPr>
          <a:xfrm>
            <a:off x="3524250" y="4286250"/>
            <a:ext cx="485775" cy="48577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55" name="object 55"/>
          <p:cNvSpPr/>
          <p:nvPr/>
        </p:nvSpPr>
        <p:spPr>
          <a:xfrm>
            <a:off x="4076700" y="4286250"/>
            <a:ext cx="485775" cy="48577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56" name="object 56"/>
          <p:cNvSpPr/>
          <p:nvPr/>
        </p:nvSpPr>
        <p:spPr>
          <a:xfrm>
            <a:off x="4629150" y="4286250"/>
            <a:ext cx="485775" cy="48577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57" name="object 57"/>
          <p:cNvSpPr/>
          <p:nvPr/>
        </p:nvSpPr>
        <p:spPr>
          <a:xfrm>
            <a:off x="5619750" y="2581275"/>
            <a:ext cx="485775" cy="48577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58" name="object 58"/>
          <p:cNvSpPr/>
          <p:nvPr/>
        </p:nvSpPr>
        <p:spPr>
          <a:xfrm>
            <a:off x="6172200" y="2581275"/>
            <a:ext cx="485775" cy="48577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59" name="object 59"/>
          <p:cNvSpPr/>
          <p:nvPr/>
        </p:nvSpPr>
        <p:spPr>
          <a:xfrm>
            <a:off x="6724650" y="2581275"/>
            <a:ext cx="476250" cy="485775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60" name="object 60"/>
          <p:cNvSpPr/>
          <p:nvPr/>
        </p:nvSpPr>
        <p:spPr>
          <a:xfrm>
            <a:off x="5619750" y="3143250"/>
            <a:ext cx="485775" cy="48577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61" name="object 61"/>
          <p:cNvSpPr/>
          <p:nvPr/>
        </p:nvSpPr>
        <p:spPr>
          <a:xfrm>
            <a:off x="6172200" y="3143250"/>
            <a:ext cx="485775" cy="48577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62" name="object 62"/>
          <p:cNvSpPr/>
          <p:nvPr/>
        </p:nvSpPr>
        <p:spPr>
          <a:xfrm>
            <a:off x="5619750" y="3714750"/>
            <a:ext cx="485775" cy="476250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63" name="object 63"/>
          <p:cNvSpPr/>
          <p:nvPr/>
        </p:nvSpPr>
        <p:spPr>
          <a:xfrm>
            <a:off x="5619750" y="4286250"/>
            <a:ext cx="485775" cy="48577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64" name="object 64"/>
          <p:cNvSpPr/>
          <p:nvPr/>
        </p:nvSpPr>
        <p:spPr>
          <a:xfrm>
            <a:off x="5619750" y="4848225"/>
            <a:ext cx="485775" cy="48577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65" name="object 65"/>
          <p:cNvSpPr/>
          <p:nvPr/>
        </p:nvSpPr>
        <p:spPr>
          <a:xfrm>
            <a:off x="6172200" y="4286250"/>
            <a:ext cx="485775" cy="48577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66" name="object 66"/>
          <p:cNvSpPr/>
          <p:nvPr/>
        </p:nvSpPr>
        <p:spPr>
          <a:xfrm>
            <a:off x="6172200" y="4848225"/>
            <a:ext cx="485775" cy="48577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67" name="object 67"/>
          <p:cNvSpPr/>
          <p:nvPr/>
        </p:nvSpPr>
        <p:spPr>
          <a:xfrm>
            <a:off x="6724650" y="4286250"/>
            <a:ext cx="476250" cy="485775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68" name="object 68"/>
          <p:cNvSpPr/>
          <p:nvPr/>
        </p:nvSpPr>
        <p:spPr>
          <a:xfrm>
            <a:off x="7724775" y="4286250"/>
            <a:ext cx="485775" cy="48577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69" name="object 69"/>
          <p:cNvSpPr/>
          <p:nvPr/>
        </p:nvSpPr>
        <p:spPr>
          <a:xfrm>
            <a:off x="8734425" y="4286250"/>
            <a:ext cx="485775" cy="48577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70" name="object 70"/>
          <p:cNvSpPr/>
          <p:nvPr/>
        </p:nvSpPr>
        <p:spPr>
          <a:xfrm>
            <a:off x="8734425" y="4848225"/>
            <a:ext cx="485775" cy="48577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71" name="object 71"/>
          <p:cNvSpPr/>
          <p:nvPr/>
        </p:nvSpPr>
        <p:spPr>
          <a:xfrm>
            <a:off x="8734425" y="2581275"/>
            <a:ext cx="485775" cy="48577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72" name="object 72"/>
          <p:cNvSpPr/>
          <p:nvPr/>
        </p:nvSpPr>
        <p:spPr>
          <a:xfrm>
            <a:off x="9753600" y="2581275"/>
            <a:ext cx="476250" cy="485775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73" name="object 73"/>
          <p:cNvSpPr/>
          <p:nvPr/>
        </p:nvSpPr>
        <p:spPr>
          <a:xfrm>
            <a:off x="10296525" y="2581275"/>
            <a:ext cx="485775" cy="48577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74" name="object 74"/>
          <p:cNvSpPr/>
          <p:nvPr/>
        </p:nvSpPr>
        <p:spPr>
          <a:xfrm>
            <a:off x="10848975" y="2581275"/>
            <a:ext cx="485775" cy="48577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75" name="object 75"/>
          <p:cNvSpPr/>
          <p:nvPr/>
        </p:nvSpPr>
        <p:spPr>
          <a:xfrm>
            <a:off x="9753600" y="4286250"/>
            <a:ext cx="476250" cy="485775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76" name="object 76"/>
          <p:cNvSpPr/>
          <p:nvPr/>
        </p:nvSpPr>
        <p:spPr>
          <a:xfrm>
            <a:off x="10296525" y="4286250"/>
            <a:ext cx="485775" cy="48577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77" name="object 77"/>
          <p:cNvSpPr/>
          <p:nvPr/>
        </p:nvSpPr>
        <p:spPr>
          <a:xfrm>
            <a:off x="10848975" y="4286250"/>
            <a:ext cx="485775" cy="48577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78" name="object 78"/>
          <p:cNvSpPr/>
          <p:nvPr/>
        </p:nvSpPr>
        <p:spPr>
          <a:xfrm>
            <a:off x="9753600" y="4848225"/>
            <a:ext cx="476250" cy="485775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79" name="object 79"/>
          <p:cNvSpPr/>
          <p:nvPr/>
        </p:nvSpPr>
        <p:spPr>
          <a:xfrm>
            <a:off x="3524250" y="3714750"/>
            <a:ext cx="485775" cy="48577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80" name="object 80"/>
          <p:cNvSpPr/>
          <p:nvPr/>
        </p:nvSpPr>
        <p:spPr>
          <a:xfrm>
            <a:off x="3524250" y="4848225"/>
            <a:ext cx="485775" cy="48577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81" name="object 81"/>
          <p:cNvSpPr/>
          <p:nvPr/>
        </p:nvSpPr>
        <p:spPr>
          <a:xfrm>
            <a:off x="4076700" y="4848225"/>
            <a:ext cx="485775" cy="48577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82" name="object 82"/>
          <p:cNvSpPr/>
          <p:nvPr/>
        </p:nvSpPr>
        <p:spPr>
          <a:xfrm>
            <a:off x="4629150" y="4848225"/>
            <a:ext cx="485775" cy="48577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83" name="object 83"/>
          <p:cNvSpPr/>
          <p:nvPr/>
        </p:nvSpPr>
        <p:spPr>
          <a:xfrm>
            <a:off x="4073849" y="3716478"/>
            <a:ext cx="485775" cy="485775"/>
          </a:xfrm>
          <a:custGeom>
            <a:avLst/>
            <a:gdLst/>
            <a:ahLst/>
            <a:cxnLst/>
            <a:rect l="l" t="t" r="r" b="b"/>
            <a:pathLst>
              <a:path w="647700" h="647700">
                <a:moveTo>
                  <a:pt x="0" y="0"/>
                </a:moveTo>
                <a:lnTo>
                  <a:pt x="647700" y="0"/>
                </a:lnTo>
                <a:lnTo>
                  <a:pt x="647700" y="647700"/>
                </a:lnTo>
                <a:lnTo>
                  <a:pt x="0" y="647700"/>
                </a:lnTo>
                <a:lnTo>
                  <a:pt x="0" y="0"/>
                </a:lnTo>
                <a:close/>
              </a:path>
            </a:pathLst>
          </a:custGeom>
          <a:solidFill>
            <a:srgbClr val="777776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84" name="object 84"/>
          <p:cNvSpPr/>
          <p:nvPr/>
        </p:nvSpPr>
        <p:spPr>
          <a:xfrm>
            <a:off x="4620971" y="3716478"/>
            <a:ext cx="485775" cy="485775"/>
          </a:xfrm>
          <a:custGeom>
            <a:avLst/>
            <a:gdLst/>
            <a:ahLst/>
            <a:cxnLst/>
            <a:rect l="l" t="t" r="r" b="b"/>
            <a:pathLst>
              <a:path w="647700" h="647700">
                <a:moveTo>
                  <a:pt x="0" y="0"/>
                </a:moveTo>
                <a:lnTo>
                  <a:pt x="647700" y="0"/>
                </a:lnTo>
                <a:lnTo>
                  <a:pt x="647700" y="647700"/>
                </a:lnTo>
                <a:lnTo>
                  <a:pt x="0" y="647700"/>
                </a:lnTo>
                <a:lnTo>
                  <a:pt x="0" y="0"/>
                </a:lnTo>
                <a:close/>
              </a:path>
            </a:pathLst>
          </a:custGeom>
          <a:solidFill>
            <a:srgbClr val="777776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85" name="object 85"/>
          <p:cNvSpPr/>
          <p:nvPr/>
        </p:nvSpPr>
        <p:spPr>
          <a:xfrm>
            <a:off x="6174481" y="3716478"/>
            <a:ext cx="485775" cy="485775"/>
          </a:xfrm>
          <a:custGeom>
            <a:avLst/>
            <a:gdLst/>
            <a:ahLst/>
            <a:cxnLst/>
            <a:rect l="l" t="t" r="r" b="b"/>
            <a:pathLst>
              <a:path w="647700" h="647700">
                <a:moveTo>
                  <a:pt x="0" y="0"/>
                </a:moveTo>
                <a:lnTo>
                  <a:pt x="647700" y="0"/>
                </a:lnTo>
                <a:lnTo>
                  <a:pt x="647700" y="647700"/>
                </a:lnTo>
                <a:lnTo>
                  <a:pt x="0" y="647700"/>
                </a:lnTo>
                <a:lnTo>
                  <a:pt x="0" y="0"/>
                </a:lnTo>
                <a:close/>
              </a:path>
            </a:pathLst>
          </a:custGeom>
          <a:solidFill>
            <a:srgbClr val="777776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86" name="object 86"/>
          <p:cNvSpPr/>
          <p:nvPr/>
        </p:nvSpPr>
        <p:spPr>
          <a:xfrm>
            <a:off x="6721604" y="3716478"/>
            <a:ext cx="485775" cy="485775"/>
          </a:xfrm>
          <a:custGeom>
            <a:avLst/>
            <a:gdLst/>
            <a:ahLst/>
            <a:cxnLst/>
            <a:rect l="l" t="t" r="r" b="b"/>
            <a:pathLst>
              <a:path w="647700" h="647700">
                <a:moveTo>
                  <a:pt x="0" y="0"/>
                </a:moveTo>
                <a:lnTo>
                  <a:pt x="647700" y="0"/>
                </a:lnTo>
                <a:lnTo>
                  <a:pt x="647700" y="647700"/>
                </a:lnTo>
                <a:lnTo>
                  <a:pt x="0" y="647700"/>
                </a:lnTo>
                <a:lnTo>
                  <a:pt x="0" y="0"/>
                </a:lnTo>
                <a:close/>
              </a:path>
            </a:pathLst>
          </a:custGeom>
          <a:solidFill>
            <a:srgbClr val="777776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87" name="object 87"/>
          <p:cNvSpPr/>
          <p:nvPr/>
        </p:nvSpPr>
        <p:spPr>
          <a:xfrm>
            <a:off x="7723115" y="3716478"/>
            <a:ext cx="485775" cy="485775"/>
          </a:xfrm>
          <a:custGeom>
            <a:avLst/>
            <a:gdLst/>
            <a:ahLst/>
            <a:cxnLst/>
            <a:rect l="l" t="t" r="r" b="b"/>
            <a:pathLst>
              <a:path w="647700" h="647700">
                <a:moveTo>
                  <a:pt x="0" y="0"/>
                </a:moveTo>
                <a:lnTo>
                  <a:pt x="647700" y="0"/>
                </a:lnTo>
                <a:lnTo>
                  <a:pt x="647700" y="647700"/>
                </a:lnTo>
                <a:lnTo>
                  <a:pt x="0" y="647700"/>
                </a:lnTo>
                <a:lnTo>
                  <a:pt x="0" y="0"/>
                </a:lnTo>
                <a:close/>
              </a:path>
            </a:pathLst>
          </a:custGeom>
          <a:solidFill>
            <a:srgbClr val="777776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88" name="object 88"/>
          <p:cNvSpPr/>
          <p:nvPr/>
        </p:nvSpPr>
        <p:spPr>
          <a:xfrm>
            <a:off x="8734688" y="3716478"/>
            <a:ext cx="485775" cy="485775"/>
          </a:xfrm>
          <a:custGeom>
            <a:avLst/>
            <a:gdLst/>
            <a:ahLst/>
            <a:cxnLst/>
            <a:rect l="l" t="t" r="r" b="b"/>
            <a:pathLst>
              <a:path w="647700" h="647700">
                <a:moveTo>
                  <a:pt x="0" y="0"/>
                </a:moveTo>
                <a:lnTo>
                  <a:pt x="647700" y="0"/>
                </a:lnTo>
                <a:lnTo>
                  <a:pt x="647700" y="647700"/>
                </a:lnTo>
                <a:lnTo>
                  <a:pt x="0" y="647700"/>
                </a:lnTo>
                <a:lnTo>
                  <a:pt x="0" y="0"/>
                </a:lnTo>
                <a:close/>
              </a:path>
            </a:pathLst>
          </a:custGeom>
          <a:solidFill>
            <a:srgbClr val="777776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89" name="object 89"/>
          <p:cNvSpPr/>
          <p:nvPr/>
        </p:nvSpPr>
        <p:spPr>
          <a:xfrm>
            <a:off x="9740408" y="3716478"/>
            <a:ext cx="485775" cy="485775"/>
          </a:xfrm>
          <a:custGeom>
            <a:avLst/>
            <a:gdLst/>
            <a:ahLst/>
            <a:cxnLst/>
            <a:rect l="l" t="t" r="r" b="b"/>
            <a:pathLst>
              <a:path w="647700" h="647700">
                <a:moveTo>
                  <a:pt x="0" y="0"/>
                </a:moveTo>
                <a:lnTo>
                  <a:pt x="647700" y="0"/>
                </a:lnTo>
                <a:lnTo>
                  <a:pt x="647700" y="647700"/>
                </a:lnTo>
                <a:lnTo>
                  <a:pt x="0" y="647700"/>
                </a:lnTo>
                <a:lnTo>
                  <a:pt x="0" y="0"/>
                </a:lnTo>
                <a:close/>
              </a:path>
            </a:pathLst>
          </a:custGeom>
          <a:solidFill>
            <a:srgbClr val="777776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90" name="object 90"/>
          <p:cNvSpPr/>
          <p:nvPr/>
        </p:nvSpPr>
        <p:spPr>
          <a:xfrm>
            <a:off x="10295943" y="3716478"/>
            <a:ext cx="485775" cy="485775"/>
          </a:xfrm>
          <a:custGeom>
            <a:avLst/>
            <a:gdLst/>
            <a:ahLst/>
            <a:cxnLst/>
            <a:rect l="l" t="t" r="r" b="b"/>
            <a:pathLst>
              <a:path w="647700" h="647700">
                <a:moveTo>
                  <a:pt x="0" y="0"/>
                </a:moveTo>
                <a:lnTo>
                  <a:pt x="647700" y="0"/>
                </a:lnTo>
                <a:lnTo>
                  <a:pt x="647700" y="647700"/>
                </a:lnTo>
                <a:lnTo>
                  <a:pt x="0" y="647700"/>
                </a:lnTo>
                <a:lnTo>
                  <a:pt x="0" y="0"/>
                </a:lnTo>
                <a:close/>
              </a:path>
            </a:pathLst>
          </a:custGeom>
          <a:solidFill>
            <a:srgbClr val="777776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91" name="object 91"/>
          <p:cNvSpPr/>
          <p:nvPr/>
        </p:nvSpPr>
        <p:spPr>
          <a:xfrm>
            <a:off x="10848261" y="3716478"/>
            <a:ext cx="485775" cy="485775"/>
          </a:xfrm>
          <a:custGeom>
            <a:avLst/>
            <a:gdLst/>
            <a:ahLst/>
            <a:cxnLst/>
            <a:rect l="l" t="t" r="r" b="b"/>
            <a:pathLst>
              <a:path w="647700" h="647700">
                <a:moveTo>
                  <a:pt x="0" y="0"/>
                </a:moveTo>
                <a:lnTo>
                  <a:pt x="647700" y="0"/>
                </a:lnTo>
                <a:lnTo>
                  <a:pt x="647700" y="647700"/>
                </a:lnTo>
                <a:lnTo>
                  <a:pt x="0" y="647700"/>
                </a:lnTo>
                <a:lnTo>
                  <a:pt x="0" y="0"/>
                </a:lnTo>
                <a:close/>
              </a:path>
            </a:pathLst>
          </a:custGeom>
          <a:solidFill>
            <a:srgbClr val="777776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92" name="object 92"/>
          <p:cNvSpPr/>
          <p:nvPr/>
        </p:nvSpPr>
        <p:spPr>
          <a:xfrm>
            <a:off x="9740408" y="3145976"/>
            <a:ext cx="485775" cy="485775"/>
          </a:xfrm>
          <a:custGeom>
            <a:avLst/>
            <a:gdLst/>
            <a:ahLst/>
            <a:cxnLst/>
            <a:rect l="l" t="t" r="r" b="b"/>
            <a:pathLst>
              <a:path w="647700" h="647700">
                <a:moveTo>
                  <a:pt x="0" y="0"/>
                </a:moveTo>
                <a:lnTo>
                  <a:pt x="647700" y="0"/>
                </a:lnTo>
                <a:lnTo>
                  <a:pt x="647700" y="647700"/>
                </a:lnTo>
                <a:lnTo>
                  <a:pt x="0" y="6477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93" name="object 93"/>
          <p:cNvSpPr/>
          <p:nvPr/>
        </p:nvSpPr>
        <p:spPr>
          <a:xfrm>
            <a:off x="10295943" y="3145976"/>
            <a:ext cx="485775" cy="485775"/>
          </a:xfrm>
          <a:custGeom>
            <a:avLst/>
            <a:gdLst/>
            <a:ahLst/>
            <a:cxnLst/>
            <a:rect l="l" t="t" r="r" b="b"/>
            <a:pathLst>
              <a:path w="647700" h="647700">
                <a:moveTo>
                  <a:pt x="0" y="0"/>
                </a:moveTo>
                <a:lnTo>
                  <a:pt x="647700" y="0"/>
                </a:lnTo>
                <a:lnTo>
                  <a:pt x="647700" y="647700"/>
                </a:lnTo>
                <a:lnTo>
                  <a:pt x="0" y="6477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94" name="object 94"/>
          <p:cNvSpPr/>
          <p:nvPr/>
        </p:nvSpPr>
        <p:spPr>
          <a:xfrm>
            <a:off x="10848261" y="3145976"/>
            <a:ext cx="485775" cy="485775"/>
          </a:xfrm>
          <a:custGeom>
            <a:avLst/>
            <a:gdLst/>
            <a:ahLst/>
            <a:cxnLst/>
            <a:rect l="l" t="t" r="r" b="b"/>
            <a:pathLst>
              <a:path w="647700" h="647700">
                <a:moveTo>
                  <a:pt x="0" y="0"/>
                </a:moveTo>
                <a:lnTo>
                  <a:pt x="647700" y="0"/>
                </a:lnTo>
                <a:lnTo>
                  <a:pt x="647700" y="647700"/>
                </a:lnTo>
                <a:lnTo>
                  <a:pt x="0" y="6477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95" name="object 95"/>
          <p:cNvSpPr/>
          <p:nvPr/>
        </p:nvSpPr>
        <p:spPr>
          <a:xfrm>
            <a:off x="8734688" y="3145976"/>
            <a:ext cx="485775" cy="485775"/>
          </a:xfrm>
          <a:custGeom>
            <a:avLst/>
            <a:gdLst/>
            <a:ahLst/>
            <a:cxnLst/>
            <a:rect l="l" t="t" r="r" b="b"/>
            <a:pathLst>
              <a:path w="647700" h="647700">
                <a:moveTo>
                  <a:pt x="0" y="0"/>
                </a:moveTo>
                <a:lnTo>
                  <a:pt x="647700" y="0"/>
                </a:lnTo>
                <a:lnTo>
                  <a:pt x="647700" y="647700"/>
                </a:lnTo>
                <a:lnTo>
                  <a:pt x="0" y="6477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96" name="object 96"/>
          <p:cNvSpPr/>
          <p:nvPr/>
        </p:nvSpPr>
        <p:spPr>
          <a:xfrm>
            <a:off x="7723115" y="3145976"/>
            <a:ext cx="485775" cy="485775"/>
          </a:xfrm>
          <a:custGeom>
            <a:avLst/>
            <a:gdLst/>
            <a:ahLst/>
            <a:cxnLst/>
            <a:rect l="l" t="t" r="r" b="b"/>
            <a:pathLst>
              <a:path w="647700" h="647700">
                <a:moveTo>
                  <a:pt x="0" y="0"/>
                </a:moveTo>
                <a:lnTo>
                  <a:pt x="647700" y="0"/>
                </a:lnTo>
                <a:lnTo>
                  <a:pt x="647700" y="647700"/>
                </a:lnTo>
                <a:lnTo>
                  <a:pt x="0" y="6477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97" name="object 97"/>
          <p:cNvSpPr/>
          <p:nvPr/>
        </p:nvSpPr>
        <p:spPr>
          <a:xfrm>
            <a:off x="6716693" y="3145976"/>
            <a:ext cx="485775" cy="485775"/>
          </a:xfrm>
          <a:custGeom>
            <a:avLst/>
            <a:gdLst/>
            <a:ahLst/>
            <a:cxnLst/>
            <a:rect l="l" t="t" r="r" b="b"/>
            <a:pathLst>
              <a:path w="647700" h="647700">
                <a:moveTo>
                  <a:pt x="0" y="0"/>
                </a:moveTo>
                <a:lnTo>
                  <a:pt x="647698" y="0"/>
                </a:lnTo>
                <a:lnTo>
                  <a:pt x="647698" y="647700"/>
                </a:lnTo>
                <a:lnTo>
                  <a:pt x="0" y="6477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98" name="object 98"/>
          <p:cNvSpPr/>
          <p:nvPr/>
        </p:nvSpPr>
        <p:spPr>
          <a:xfrm>
            <a:off x="7723115" y="2570559"/>
            <a:ext cx="485775" cy="485775"/>
          </a:xfrm>
          <a:custGeom>
            <a:avLst/>
            <a:gdLst/>
            <a:ahLst/>
            <a:cxnLst/>
            <a:rect l="l" t="t" r="r" b="b"/>
            <a:pathLst>
              <a:path w="647700" h="647700">
                <a:moveTo>
                  <a:pt x="0" y="0"/>
                </a:moveTo>
                <a:lnTo>
                  <a:pt x="647700" y="0"/>
                </a:lnTo>
                <a:lnTo>
                  <a:pt x="647700" y="647700"/>
                </a:lnTo>
                <a:lnTo>
                  <a:pt x="0" y="647700"/>
                </a:lnTo>
                <a:lnTo>
                  <a:pt x="0" y="0"/>
                </a:lnTo>
                <a:close/>
              </a:path>
            </a:pathLst>
          </a:custGeom>
          <a:solidFill>
            <a:srgbClr val="777776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99" name="object 99"/>
          <p:cNvSpPr/>
          <p:nvPr/>
        </p:nvSpPr>
        <p:spPr>
          <a:xfrm>
            <a:off x="7723115" y="4850075"/>
            <a:ext cx="485775" cy="485775"/>
          </a:xfrm>
          <a:custGeom>
            <a:avLst/>
            <a:gdLst/>
            <a:ahLst/>
            <a:cxnLst/>
            <a:rect l="l" t="t" r="r" b="b"/>
            <a:pathLst>
              <a:path w="647700" h="647700">
                <a:moveTo>
                  <a:pt x="0" y="0"/>
                </a:moveTo>
                <a:lnTo>
                  <a:pt x="647700" y="0"/>
                </a:lnTo>
                <a:lnTo>
                  <a:pt x="647700" y="647699"/>
                </a:lnTo>
                <a:lnTo>
                  <a:pt x="0" y="647699"/>
                </a:lnTo>
                <a:lnTo>
                  <a:pt x="0" y="0"/>
                </a:lnTo>
                <a:close/>
              </a:path>
            </a:pathLst>
          </a:custGeom>
          <a:solidFill>
            <a:srgbClr val="777776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100" name="object 100"/>
          <p:cNvSpPr/>
          <p:nvPr/>
        </p:nvSpPr>
        <p:spPr>
          <a:xfrm>
            <a:off x="6716693" y="4850075"/>
            <a:ext cx="485775" cy="485775"/>
          </a:xfrm>
          <a:custGeom>
            <a:avLst/>
            <a:gdLst/>
            <a:ahLst/>
            <a:cxnLst/>
            <a:rect l="l" t="t" r="r" b="b"/>
            <a:pathLst>
              <a:path w="647700" h="647700">
                <a:moveTo>
                  <a:pt x="0" y="0"/>
                </a:moveTo>
                <a:lnTo>
                  <a:pt x="647698" y="0"/>
                </a:lnTo>
                <a:lnTo>
                  <a:pt x="647698" y="647699"/>
                </a:lnTo>
                <a:lnTo>
                  <a:pt x="0" y="647699"/>
                </a:lnTo>
                <a:lnTo>
                  <a:pt x="0" y="0"/>
                </a:lnTo>
                <a:close/>
              </a:path>
            </a:pathLst>
          </a:custGeom>
          <a:solidFill>
            <a:srgbClr val="777776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101" name="object 101"/>
          <p:cNvSpPr/>
          <p:nvPr/>
        </p:nvSpPr>
        <p:spPr>
          <a:xfrm>
            <a:off x="10295943" y="4850075"/>
            <a:ext cx="485775" cy="485775"/>
          </a:xfrm>
          <a:custGeom>
            <a:avLst/>
            <a:gdLst/>
            <a:ahLst/>
            <a:cxnLst/>
            <a:rect l="l" t="t" r="r" b="b"/>
            <a:pathLst>
              <a:path w="647700" h="647700">
                <a:moveTo>
                  <a:pt x="0" y="0"/>
                </a:moveTo>
                <a:lnTo>
                  <a:pt x="647700" y="0"/>
                </a:lnTo>
                <a:lnTo>
                  <a:pt x="647700" y="647699"/>
                </a:lnTo>
                <a:lnTo>
                  <a:pt x="0" y="647699"/>
                </a:lnTo>
                <a:lnTo>
                  <a:pt x="0" y="0"/>
                </a:lnTo>
                <a:close/>
              </a:path>
            </a:pathLst>
          </a:custGeom>
          <a:solidFill>
            <a:srgbClr val="777776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102" name="object 102"/>
          <p:cNvSpPr/>
          <p:nvPr/>
        </p:nvSpPr>
        <p:spPr>
          <a:xfrm>
            <a:off x="10848261" y="4850075"/>
            <a:ext cx="485775" cy="485775"/>
          </a:xfrm>
          <a:custGeom>
            <a:avLst/>
            <a:gdLst/>
            <a:ahLst/>
            <a:cxnLst/>
            <a:rect l="l" t="t" r="r" b="b"/>
            <a:pathLst>
              <a:path w="647700" h="647700">
                <a:moveTo>
                  <a:pt x="0" y="0"/>
                </a:moveTo>
                <a:lnTo>
                  <a:pt x="647700" y="0"/>
                </a:lnTo>
                <a:lnTo>
                  <a:pt x="647700" y="647699"/>
                </a:lnTo>
                <a:lnTo>
                  <a:pt x="0" y="647699"/>
                </a:lnTo>
                <a:lnTo>
                  <a:pt x="0" y="0"/>
                </a:lnTo>
                <a:close/>
              </a:path>
            </a:pathLst>
          </a:custGeom>
          <a:solidFill>
            <a:srgbClr val="777776"/>
          </a:solidFill>
        </p:spPr>
        <p:txBody>
          <a:bodyPr wrap="square" lIns="0" tIns="0" rIns="0" bIns="0" rtlCol="0"/>
          <a:lstStyle/>
          <a:p>
            <a:endParaRPr sz="1350"/>
          </a:p>
        </p:txBody>
      </p:sp>
      <p:sp>
        <p:nvSpPr>
          <p:cNvPr id="103" name="object 103"/>
          <p:cNvSpPr txBox="1"/>
          <p:nvPr/>
        </p:nvSpPr>
        <p:spPr>
          <a:xfrm>
            <a:off x="4133850" y="2305050"/>
            <a:ext cx="383857" cy="159659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975" b="1" spc="-26" dirty="0">
                <a:solidFill>
                  <a:srgbClr val="FFFFFF"/>
                </a:solidFill>
                <a:latin typeface="Lucida Sans"/>
                <a:cs typeface="Lucida Sans"/>
              </a:rPr>
              <a:t>Media</a:t>
            </a:r>
            <a:endParaRPr sz="975">
              <a:latin typeface="Lucida Sans"/>
              <a:cs typeface="Lucida Sans"/>
            </a:endParaRPr>
          </a:p>
        </p:txBody>
      </p:sp>
      <p:sp>
        <p:nvSpPr>
          <p:cNvPr id="104" name="object 104"/>
          <p:cNvSpPr txBox="1"/>
          <p:nvPr/>
        </p:nvSpPr>
        <p:spPr>
          <a:xfrm>
            <a:off x="3600450" y="2305050"/>
            <a:ext cx="340043" cy="159659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975" b="1" spc="-53" dirty="0">
                <a:solidFill>
                  <a:srgbClr val="FFFFFF"/>
                </a:solidFill>
                <a:latin typeface="Lucida Sans"/>
                <a:cs typeface="Lucida Sans"/>
              </a:rPr>
              <a:t>Co</a:t>
            </a:r>
            <a:r>
              <a:rPr sz="975" b="1" spc="-60" dirty="0">
                <a:solidFill>
                  <a:srgbClr val="FFFFFF"/>
                </a:solidFill>
                <a:latin typeface="Lucida Sans"/>
                <a:cs typeface="Lucida Sans"/>
              </a:rPr>
              <a:t>r</a:t>
            </a:r>
            <a:r>
              <a:rPr sz="975" b="1" spc="-26" dirty="0">
                <a:solidFill>
                  <a:srgbClr val="FFFFFF"/>
                </a:solidFill>
                <a:latin typeface="Lucida Sans"/>
                <a:cs typeface="Lucida Sans"/>
              </a:rPr>
              <a:t>ta</a:t>
            </a:r>
            <a:endParaRPr sz="975">
              <a:latin typeface="Lucida Sans"/>
              <a:cs typeface="Lucida Sans"/>
            </a:endParaRPr>
          </a:p>
        </p:txBody>
      </p:sp>
      <p:sp>
        <p:nvSpPr>
          <p:cNvPr id="105" name="object 105"/>
          <p:cNvSpPr txBox="1"/>
          <p:nvPr/>
        </p:nvSpPr>
        <p:spPr>
          <a:xfrm>
            <a:off x="4705350" y="2305050"/>
            <a:ext cx="343853" cy="159659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975" b="1" spc="-45" dirty="0">
                <a:solidFill>
                  <a:srgbClr val="FFFFFF"/>
                </a:solidFill>
                <a:latin typeface="Lucida Sans"/>
                <a:cs typeface="Lucida Sans"/>
              </a:rPr>
              <a:t>La</a:t>
            </a:r>
            <a:r>
              <a:rPr sz="975" b="1" spc="-60" dirty="0">
                <a:solidFill>
                  <a:srgbClr val="FFFFFF"/>
                </a:solidFill>
                <a:latin typeface="Lucida Sans"/>
                <a:cs typeface="Lucida Sans"/>
              </a:rPr>
              <a:t>r</a:t>
            </a:r>
            <a:r>
              <a:rPr sz="975" b="1" spc="-71" dirty="0">
                <a:solidFill>
                  <a:srgbClr val="FFFFFF"/>
                </a:solidFill>
                <a:latin typeface="Lucida Sans"/>
                <a:cs typeface="Lucida Sans"/>
              </a:rPr>
              <a:t>g</a:t>
            </a:r>
            <a:r>
              <a:rPr sz="975" b="1" spc="-34" dirty="0">
                <a:solidFill>
                  <a:srgbClr val="FFFFFF"/>
                </a:solidFill>
                <a:latin typeface="Lucida Sans"/>
                <a:cs typeface="Lucida Sans"/>
              </a:rPr>
              <a:t>a</a:t>
            </a:r>
            <a:endParaRPr sz="975">
              <a:latin typeface="Lucida Sans"/>
              <a:cs typeface="Lucida Sans"/>
            </a:endParaRPr>
          </a:p>
        </p:txBody>
      </p:sp>
      <p:sp>
        <p:nvSpPr>
          <p:cNvPr id="106" name="object 106"/>
          <p:cNvSpPr txBox="1"/>
          <p:nvPr/>
        </p:nvSpPr>
        <p:spPr>
          <a:xfrm>
            <a:off x="6238875" y="2305050"/>
            <a:ext cx="383857" cy="159659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975" b="1" spc="-26" dirty="0">
                <a:solidFill>
                  <a:srgbClr val="FFFFFF"/>
                </a:solidFill>
                <a:latin typeface="Lucida Sans"/>
                <a:cs typeface="Lucida Sans"/>
              </a:rPr>
              <a:t>Media</a:t>
            </a:r>
            <a:endParaRPr sz="975">
              <a:latin typeface="Lucida Sans"/>
              <a:cs typeface="Lucida Sans"/>
            </a:endParaRPr>
          </a:p>
        </p:txBody>
      </p:sp>
      <p:sp>
        <p:nvSpPr>
          <p:cNvPr id="107" name="object 107"/>
          <p:cNvSpPr txBox="1"/>
          <p:nvPr/>
        </p:nvSpPr>
        <p:spPr>
          <a:xfrm>
            <a:off x="5695950" y="2305050"/>
            <a:ext cx="340043" cy="159659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975" b="1" spc="-53" dirty="0">
                <a:solidFill>
                  <a:srgbClr val="FFFFFF"/>
                </a:solidFill>
                <a:latin typeface="Lucida Sans"/>
                <a:cs typeface="Lucida Sans"/>
              </a:rPr>
              <a:t>Co</a:t>
            </a:r>
            <a:r>
              <a:rPr sz="975" b="1" spc="-60" dirty="0">
                <a:solidFill>
                  <a:srgbClr val="FFFFFF"/>
                </a:solidFill>
                <a:latin typeface="Lucida Sans"/>
                <a:cs typeface="Lucida Sans"/>
              </a:rPr>
              <a:t>r</a:t>
            </a:r>
            <a:r>
              <a:rPr sz="975" b="1" spc="-26" dirty="0">
                <a:solidFill>
                  <a:srgbClr val="FFFFFF"/>
                </a:solidFill>
                <a:latin typeface="Lucida Sans"/>
                <a:cs typeface="Lucida Sans"/>
              </a:rPr>
              <a:t>ta</a:t>
            </a:r>
            <a:endParaRPr sz="975">
              <a:latin typeface="Lucida Sans"/>
              <a:cs typeface="Lucida Sans"/>
            </a:endParaRPr>
          </a:p>
        </p:txBody>
      </p:sp>
      <p:sp>
        <p:nvSpPr>
          <p:cNvPr id="108" name="object 108"/>
          <p:cNvSpPr txBox="1"/>
          <p:nvPr/>
        </p:nvSpPr>
        <p:spPr>
          <a:xfrm>
            <a:off x="6791325" y="2305050"/>
            <a:ext cx="343853" cy="159659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975" b="1" spc="-45" dirty="0">
                <a:solidFill>
                  <a:srgbClr val="FFFFFF"/>
                </a:solidFill>
                <a:latin typeface="Lucida Sans"/>
                <a:cs typeface="Lucida Sans"/>
              </a:rPr>
              <a:t>La</a:t>
            </a:r>
            <a:r>
              <a:rPr sz="975" b="1" spc="-60" dirty="0">
                <a:solidFill>
                  <a:srgbClr val="FFFFFF"/>
                </a:solidFill>
                <a:latin typeface="Lucida Sans"/>
                <a:cs typeface="Lucida Sans"/>
              </a:rPr>
              <a:t>r</a:t>
            </a:r>
            <a:r>
              <a:rPr sz="975" b="1" spc="-71" dirty="0">
                <a:solidFill>
                  <a:srgbClr val="FFFFFF"/>
                </a:solidFill>
                <a:latin typeface="Lucida Sans"/>
                <a:cs typeface="Lucida Sans"/>
              </a:rPr>
              <a:t>g</a:t>
            </a:r>
            <a:r>
              <a:rPr sz="975" b="1" spc="-34" dirty="0">
                <a:solidFill>
                  <a:srgbClr val="FFFFFF"/>
                </a:solidFill>
                <a:latin typeface="Lucida Sans"/>
                <a:cs typeface="Lucida Sans"/>
              </a:rPr>
              <a:t>a</a:t>
            </a:r>
            <a:endParaRPr sz="975">
              <a:latin typeface="Lucida Sans"/>
              <a:cs typeface="Lucida Sans"/>
            </a:endParaRPr>
          </a:p>
        </p:txBody>
      </p:sp>
      <p:sp>
        <p:nvSpPr>
          <p:cNvPr id="109" name="object 109"/>
          <p:cNvSpPr txBox="1"/>
          <p:nvPr/>
        </p:nvSpPr>
        <p:spPr>
          <a:xfrm>
            <a:off x="10382250" y="2305050"/>
            <a:ext cx="340043" cy="159659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975" b="1" spc="-53" dirty="0">
                <a:solidFill>
                  <a:srgbClr val="FFFFFF"/>
                </a:solidFill>
                <a:latin typeface="Lucida Sans"/>
                <a:cs typeface="Lucida Sans"/>
              </a:rPr>
              <a:t>Co</a:t>
            </a:r>
            <a:r>
              <a:rPr sz="975" b="1" spc="-60" dirty="0">
                <a:solidFill>
                  <a:srgbClr val="FFFFFF"/>
                </a:solidFill>
                <a:latin typeface="Lucida Sans"/>
                <a:cs typeface="Lucida Sans"/>
              </a:rPr>
              <a:t>r</a:t>
            </a:r>
            <a:r>
              <a:rPr sz="975" b="1" spc="-26" dirty="0">
                <a:solidFill>
                  <a:srgbClr val="FFFFFF"/>
                </a:solidFill>
                <a:latin typeface="Lucida Sans"/>
                <a:cs typeface="Lucida Sans"/>
              </a:rPr>
              <a:t>ta</a:t>
            </a:r>
            <a:endParaRPr sz="975">
              <a:latin typeface="Lucida Sans"/>
              <a:cs typeface="Lucida Sans"/>
            </a:endParaRPr>
          </a:p>
        </p:txBody>
      </p:sp>
      <p:sp>
        <p:nvSpPr>
          <p:cNvPr id="110" name="object 110"/>
          <p:cNvSpPr txBox="1"/>
          <p:nvPr/>
        </p:nvSpPr>
        <p:spPr>
          <a:xfrm>
            <a:off x="9705975" y="2305050"/>
            <a:ext cx="572453" cy="159659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975" b="1" spc="-56" dirty="0">
                <a:solidFill>
                  <a:srgbClr val="FFFFFF"/>
                </a:solidFill>
                <a:latin typeface="Lucida Sans"/>
                <a:cs typeface="Lucida Sans"/>
              </a:rPr>
              <a:t>Interiores</a:t>
            </a:r>
            <a:endParaRPr sz="975">
              <a:latin typeface="Lucida Sans"/>
              <a:cs typeface="Lucida Sans"/>
            </a:endParaRPr>
          </a:p>
        </p:txBody>
      </p:sp>
      <p:sp>
        <p:nvSpPr>
          <p:cNvPr id="111" name="object 111"/>
          <p:cNvSpPr txBox="1"/>
          <p:nvPr/>
        </p:nvSpPr>
        <p:spPr>
          <a:xfrm>
            <a:off x="10829925" y="2305050"/>
            <a:ext cx="557689" cy="159659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975" b="1" spc="-26" dirty="0">
                <a:solidFill>
                  <a:srgbClr val="FFFFFF"/>
                </a:solidFill>
                <a:latin typeface="Lucida Sans"/>
                <a:cs typeface="Lucida Sans"/>
              </a:rPr>
              <a:t>Ma</a:t>
            </a:r>
            <a:r>
              <a:rPr sz="975" b="1" spc="-56" dirty="0">
                <a:solidFill>
                  <a:srgbClr val="FFFFFF"/>
                </a:solidFill>
                <a:latin typeface="Lucida Sans"/>
                <a:cs typeface="Lucida Sans"/>
              </a:rPr>
              <a:t>r</a:t>
            </a:r>
            <a:r>
              <a:rPr sz="975" b="1" spc="-34" dirty="0">
                <a:solidFill>
                  <a:srgbClr val="FFFFFF"/>
                </a:solidFill>
                <a:latin typeface="Lucida Sans"/>
                <a:cs typeface="Lucida Sans"/>
              </a:rPr>
              <a:t>ítimo</a:t>
            </a:r>
            <a:endParaRPr sz="975">
              <a:latin typeface="Lucida Sans"/>
              <a:cs typeface="Lucida Sans"/>
            </a:endParaRPr>
          </a:p>
        </p:txBody>
      </p:sp>
    </p:spTree>
    <p:extLst>
      <p:ext uri="{BB962C8B-B14F-4D97-AF65-F5344CB8AC3E}">
        <p14:creationId xmlns:p14="http://schemas.microsoft.com/office/powerpoint/2010/main" val="2102247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shutterstock_161947376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-459"/>
            <a:ext cx="12195534" cy="3186305"/>
          </a:xfrm>
          <a:prstGeom prst="rect">
            <a:avLst/>
          </a:prstGeom>
          <a:ln w="3175">
            <a:miter lim="400000"/>
          </a:ln>
        </p:spPr>
      </p:pic>
      <p:sp>
        <p:nvSpPr>
          <p:cNvPr id="369" name="Shape 369"/>
          <p:cNvSpPr/>
          <p:nvPr/>
        </p:nvSpPr>
        <p:spPr>
          <a:xfrm>
            <a:off x="398145" y="251141"/>
            <a:ext cx="10232034" cy="628016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5400" tIns="25400" rIns="25400" bIns="25400" anchor="ctr">
            <a:normAutofit/>
          </a:bodyPr>
          <a:lstStyle/>
          <a:p>
            <a:pPr marL="0" marR="0" lvl="0" indent="0" algn="l" defTabSz="412750" rtl="0" eaLnBrk="1" fontAlgn="auto" latinLnBrk="0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100">
                <a:solidFill>
                  <a:srgbClr val="FFFFFF"/>
                </a:solidFill>
                <a:latin typeface="Univers LT Std 45 Light"/>
                <a:ea typeface="Univers LT Std 45 Light"/>
                <a:cs typeface="Univers LT Std 45 Light"/>
                <a:sym typeface="Univers LT Std 45 Light"/>
              </a:defRPr>
            </a:pPr>
            <a:r>
              <a:rPr lang="es-ES" sz="2700" b="1" kern="0" dirty="0" smtClean="0">
                <a:solidFill>
                  <a:srgbClr val="FFFFFF"/>
                </a:solidFill>
                <a:latin typeface="Univers LT Std 45 Light"/>
                <a:ea typeface="Arial"/>
                <a:cs typeface="Arial"/>
                <a:sym typeface="Arial"/>
              </a:rPr>
              <a:t>Infraestructuras y vehículos</a:t>
            </a:r>
            <a:endParaRPr kumimoji="0" lang="es-ES" sz="27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Univers LT Std 45 Light"/>
              <a:ea typeface="Arial"/>
              <a:cs typeface="Arial"/>
              <a:sym typeface="Arial"/>
            </a:endParaRPr>
          </a:p>
        </p:txBody>
      </p:sp>
      <p:sp>
        <p:nvSpPr>
          <p:cNvPr id="432" name="Shape 432"/>
          <p:cNvSpPr/>
          <p:nvPr/>
        </p:nvSpPr>
        <p:spPr>
          <a:xfrm>
            <a:off x="-14198" y="-1"/>
            <a:ext cx="56557" cy="1130301"/>
          </a:xfrm>
          <a:prstGeom prst="rect">
            <a:avLst/>
          </a:prstGeom>
          <a:solidFill>
            <a:srgbClr val="0554FA"/>
          </a:solidFill>
          <a:ln w="3175">
            <a:miter lim="400000"/>
          </a:ln>
        </p:spPr>
        <p:txBody>
          <a:bodyPr lIns="25399" tIns="25399" rIns="25399" bIns="25399" anchor="ctr"/>
          <a:lstStyle/>
          <a:p>
            <a:pPr marL="0" marR="0" lvl="0" indent="0" algn="ctr" defTabSz="412749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</a:defRPr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/>
              <a:sym typeface="Helvetica Light"/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939792" y="1791716"/>
            <a:ext cx="2985135" cy="3139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defTabSz="685800" hangingPunct="0">
              <a:lnSpc>
                <a:spcPct val="90000"/>
              </a:lnSpc>
              <a:defRPr sz="2100">
                <a:solidFill>
                  <a:srgbClr val="054CF9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defRPr>
            </a:pPr>
            <a:r>
              <a:rPr lang="es-ES" sz="1600" b="1" kern="0" dirty="0">
                <a:solidFill>
                  <a:srgbClr val="41B9E6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rPr>
              <a:t>Infraestructuras en España</a:t>
            </a:r>
          </a:p>
        </p:txBody>
      </p:sp>
      <p:sp>
        <p:nvSpPr>
          <p:cNvPr id="12" name="Rectángulo 11"/>
          <p:cNvSpPr/>
          <p:nvPr/>
        </p:nvSpPr>
        <p:spPr>
          <a:xfrm>
            <a:off x="4382522" y="1791716"/>
            <a:ext cx="3054099" cy="3139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defTabSz="685800" hangingPunct="0">
              <a:lnSpc>
                <a:spcPct val="90000"/>
              </a:lnSpc>
              <a:defRPr sz="2100">
                <a:solidFill>
                  <a:srgbClr val="054CF9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defRPr>
            </a:pPr>
            <a:r>
              <a:rPr lang="es-ES" sz="1600" b="1" kern="0" dirty="0">
                <a:solidFill>
                  <a:srgbClr val="41B9E6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rPr>
              <a:t>Infraestructuras en </a:t>
            </a:r>
            <a:r>
              <a:rPr lang="es-ES" sz="1600" b="1" kern="0" dirty="0" smtClean="0">
                <a:solidFill>
                  <a:srgbClr val="41B9E6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rPr>
              <a:t>Europa</a:t>
            </a:r>
            <a:endParaRPr lang="es-ES" sz="1600" b="1" kern="0" dirty="0">
              <a:solidFill>
                <a:srgbClr val="41B9E6"/>
              </a:solidFill>
              <a:latin typeface="Univers LT Std 65 Bold"/>
              <a:ea typeface="Univers LT Std 65 Bold"/>
              <a:cs typeface="Univers LT Std 65 Bold"/>
              <a:sym typeface="Univers LT Std 65 Bold"/>
            </a:endParaRPr>
          </a:p>
        </p:txBody>
      </p:sp>
      <p:sp>
        <p:nvSpPr>
          <p:cNvPr id="15" name="Rectángulo 14"/>
          <p:cNvSpPr/>
          <p:nvPr/>
        </p:nvSpPr>
        <p:spPr>
          <a:xfrm>
            <a:off x="8226177" y="1797361"/>
            <a:ext cx="3057762" cy="3139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defTabSz="685800" hangingPunct="0">
              <a:lnSpc>
                <a:spcPct val="90000"/>
              </a:lnSpc>
              <a:defRPr sz="2100">
                <a:solidFill>
                  <a:srgbClr val="054CF9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defRPr>
            </a:pPr>
            <a:r>
              <a:rPr lang="es-ES" sz="1600" b="1" kern="0" dirty="0" smtClean="0">
                <a:solidFill>
                  <a:srgbClr val="41B9E6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rPr>
              <a:t>Matriculaciones en España</a:t>
            </a:r>
            <a:endParaRPr lang="es-ES" sz="1600" b="1" kern="0" dirty="0">
              <a:solidFill>
                <a:srgbClr val="41B9E6"/>
              </a:solidFill>
              <a:latin typeface="Univers LT Std 65 Bold"/>
              <a:ea typeface="Univers LT Std 65 Bold"/>
              <a:cs typeface="Univers LT Std 65 Bold"/>
              <a:sym typeface="Univers LT Std 65 Bold"/>
            </a:endParaRPr>
          </a:p>
        </p:txBody>
      </p:sp>
      <p:sp>
        <p:nvSpPr>
          <p:cNvPr id="16" name="Shape 380"/>
          <p:cNvSpPr/>
          <p:nvPr/>
        </p:nvSpPr>
        <p:spPr>
          <a:xfrm>
            <a:off x="512749" y="2149460"/>
            <a:ext cx="3437816" cy="4521419"/>
          </a:xfrm>
          <a:prstGeom prst="rect">
            <a:avLst/>
          </a:prstGeom>
          <a:solidFill>
            <a:schemeClr val="bg1"/>
          </a:solidFill>
          <a:ln>
            <a:solidFill>
              <a:srgbClr val="0554FA"/>
            </a:solidFill>
            <a:miter lim="400000"/>
          </a:ln>
        </p:spPr>
        <p:txBody>
          <a:bodyPr lIns="35719" tIns="35719" rIns="35719" bIns="35719" anchor="ctr"/>
          <a:lstStyle/>
          <a:p>
            <a:pPr algn="ctr" defTabSz="410765" hangingPunct="0">
              <a:defRPr sz="2200">
                <a:solidFill>
                  <a:srgbClr val="FFFFFF"/>
                </a:solidFill>
              </a:defRPr>
            </a:pPr>
            <a:endParaRPr sz="1650" kern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ADD2180F-0661-4720-AFDB-BB325B3974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0154" y="2540655"/>
            <a:ext cx="3333733" cy="2902969"/>
          </a:xfrm>
          <a:prstGeom prst="rect">
            <a:avLst/>
          </a:prstGeom>
        </p:spPr>
      </p:pic>
      <p:sp>
        <p:nvSpPr>
          <p:cNvPr id="11" name="Rectángulo 10"/>
          <p:cNvSpPr/>
          <p:nvPr/>
        </p:nvSpPr>
        <p:spPr>
          <a:xfrm>
            <a:off x="600155" y="5443624"/>
            <a:ext cx="3245452" cy="5493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defTabSz="685800" hangingPunct="0">
              <a:lnSpc>
                <a:spcPct val="90000"/>
              </a:lnSpc>
              <a:defRPr sz="2100">
                <a:solidFill>
                  <a:srgbClr val="054CF9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defRPr>
            </a:pPr>
            <a:r>
              <a:rPr lang="es-ES" sz="1100" kern="0" dirty="0">
                <a:solidFill>
                  <a:srgbClr val="364049"/>
                </a:solidFill>
                <a:latin typeface="Univers LT Std 65 Bold"/>
                <a:ea typeface="Univers LT Std 65 Bold"/>
                <a:cs typeface="Univers LT Std 65 Bold"/>
              </a:rPr>
              <a:t>Actualmente España cuenta con </a:t>
            </a:r>
            <a:r>
              <a:rPr lang="es-ES" sz="1100" kern="0" dirty="0">
                <a:solidFill>
                  <a:srgbClr val="00B0F0"/>
                </a:solidFill>
                <a:latin typeface="Univers LT Std 65 Bold"/>
                <a:ea typeface="Univers LT Std 65 Bold"/>
                <a:cs typeface="Univers LT Std 65 Bold"/>
              </a:rPr>
              <a:t>124</a:t>
            </a:r>
            <a:r>
              <a:rPr lang="es-ES" sz="1100" kern="0" dirty="0">
                <a:solidFill>
                  <a:srgbClr val="364049"/>
                </a:solidFill>
                <a:latin typeface="Univers LT Std 65 Bold"/>
                <a:ea typeface="Univers LT Std 65 Bold"/>
                <a:cs typeface="Univers LT Std 65 Bold"/>
              </a:rPr>
              <a:t> estaciones de gas natural </a:t>
            </a:r>
            <a:r>
              <a:rPr lang="es-ES" sz="1100" kern="0" dirty="0" smtClean="0">
                <a:solidFill>
                  <a:srgbClr val="364049"/>
                </a:solidFill>
                <a:latin typeface="Univers LT Std 65 Bold"/>
                <a:ea typeface="Univers LT Std 65 Bold"/>
                <a:cs typeface="Univers LT Std 65 Bold"/>
              </a:rPr>
              <a:t>	(57 públicas y 67 privadas) y </a:t>
            </a:r>
            <a:r>
              <a:rPr lang="es-ES" sz="1100" kern="0" dirty="0">
                <a:solidFill>
                  <a:srgbClr val="364049"/>
                </a:solidFill>
                <a:latin typeface="Univers LT Std 65 Bold"/>
                <a:ea typeface="Univers LT Std 65 Bold"/>
                <a:cs typeface="Univers LT Std 65 Bold"/>
              </a:rPr>
              <a:t>se prevé la apertura de </a:t>
            </a:r>
            <a:r>
              <a:rPr lang="es-ES" sz="1100" kern="0" dirty="0">
                <a:solidFill>
                  <a:srgbClr val="00B0F0"/>
                </a:solidFill>
                <a:latin typeface="Univers LT Std 65 Bold"/>
                <a:ea typeface="Univers LT Std 65 Bold"/>
                <a:cs typeface="Univers LT Std 65 Bold"/>
              </a:rPr>
              <a:t>80 </a:t>
            </a:r>
            <a:r>
              <a:rPr lang="es-ES" sz="1100" kern="0" dirty="0" smtClean="0">
                <a:solidFill>
                  <a:srgbClr val="00B0F0"/>
                </a:solidFill>
                <a:latin typeface="Univers LT Std 65 Bold"/>
                <a:ea typeface="Univers LT Std 65 Bold"/>
                <a:cs typeface="Univers LT Std 65 Bold"/>
              </a:rPr>
              <a:t>más.</a:t>
            </a:r>
            <a:endParaRPr lang="es-ES" sz="1100" kern="0" dirty="0">
              <a:solidFill>
                <a:srgbClr val="00B0F0"/>
              </a:solidFill>
              <a:latin typeface="Univers LT Std 65 Bold"/>
              <a:ea typeface="Univers LT Std 65 Bold"/>
              <a:cs typeface="Univers LT Std 65 Bold"/>
              <a:sym typeface="Univers LT Std 65 Bold"/>
            </a:endParaRPr>
          </a:p>
        </p:txBody>
      </p:sp>
      <p:sp>
        <p:nvSpPr>
          <p:cNvPr id="21" name="Shape 380"/>
          <p:cNvSpPr/>
          <p:nvPr/>
        </p:nvSpPr>
        <p:spPr>
          <a:xfrm>
            <a:off x="4279730" y="2149459"/>
            <a:ext cx="3437816" cy="4521419"/>
          </a:xfrm>
          <a:prstGeom prst="rect">
            <a:avLst/>
          </a:prstGeom>
          <a:solidFill>
            <a:schemeClr val="bg1"/>
          </a:solidFill>
          <a:ln>
            <a:solidFill>
              <a:srgbClr val="0554FA"/>
            </a:solidFill>
            <a:miter lim="400000"/>
          </a:ln>
        </p:spPr>
        <p:txBody>
          <a:bodyPr lIns="35719" tIns="35719" rIns="35719" bIns="35719" anchor="ctr"/>
          <a:lstStyle/>
          <a:p>
            <a:pPr algn="ctr" defTabSz="410765" hangingPunct="0">
              <a:defRPr sz="2200">
                <a:solidFill>
                  <a:srgbClr val="FFFFFF"/>
                </a:solidFill>
              </a:defRPr>
            </a:pPr>
            <a:endParaRPr sz="1650" kern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pic>
        <p:nvPicPr>
          <p:cNvPr id="13" name="Imagen 12" descr="Imagen que contiene texto, mapa&#10;&#10;Descripción generada con confianza muy alta">
            <a:extLst>
              <a:ext uri="{FF2B5EF4-FFF2-40B4-BE49-F238E27FC236}">
                <a16:creationId xmlns:a16="http://schemas.microsoft.com/office/drawing/2014/main" id="{7FCE6A77-6BAB-4D18-AE0B-8D2DFAF0F94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326" b="16988"/>
          <a:stretch/>
        </p:blipFill>
        <p:spPr>
          <a:xfrm>
            <a:off x="4766454" y="2503606"/>
            <a:ext cx="2517625" cy="2551445"/>
          </a:xfrm>
          <a:prstGeom prst="rect">
            <a:avLst/>
          </a:prstGeom>
        </p:spPr>
      </p:pic>
      <p:sp>
        <p:nvSpPr>
          <p:cNvPr id="6" name="Rectángulo 5"/>
          <p:cNvSpPr/>
          <p:nvPr/>
        </p:nvSpPr>
        <p:spPr>
          <a:xfrm>
            <a:off x="4382522" y="5055051"/>
            <a:ext cx="3285490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lang="es-ES" sz="1100" kern="0" dirty="0">
                <a:solidFill>
                  <a:srgbClr val="364049"/>
                </a:solidFill>
                <a:latin typeface="Univers LT Std 65 Bold"/>
                <a:ea typeface="Univers LT Std 65 Bold"/>
                <a:cs typeface="Univers LT Std 65 Bold"/>
              </a:rPr>
              <a:t>A día de hoy, un camión puede viajar desde </a:t>
            </a:r>
            <a:r>
              <a:rPr lang="es-ES" sz="1100" kern="0" dirty="0" smtClean="0">
                <a:solidFill>
                  <a:srgbClr val="364049"/>
                </a:solidFill>
                <a:latin typeface="Univers LT Std 65 Bold"/>
                <a:ea typeface="Univers LT Std 65 Bold"/>
                <a:cs typeface="Univers LT Std 65 Bold"/>
              </a:rPr>
              <a:t>Algeciras </a:t>
            </a:r>
            <a:r>
              <a:rPr lang="es-ES" sz="1100" kern="0" dirty="0">
                <a:solidFill>
                  <a:srgbClr val="364049"/>
                </a:solidFill>
                <a:latin typeface="Univers LT Std 65 Bold"/>
                <a:ea typeface="Univers LT Std 65 Bold"/>
                <a:cs typeface="Univers LT Std 65 Bold"/>
              </a:rPr>
              <a:t>a Gotemburgo consumiendo sólo GNL</a:t>
            </a:r>
          </a:p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endParaRPr lang="es-ES" sz="1100" kern="0" dirty="0">
              <a:solidFill>
                <a:srgbClr val="364049"/>
              </a:solidFill>
              <a:latin typeface="Univers LT Std 65 Bold"/>
              <a:ea typeface="Univers LT Std 65 Bold"/>
              <a:cs typeface="Univers LT Std 65 Bold"/>
            </a:endParaRPr>
          </a:p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lang="es-ES" sz="1100" kern="0" dirty="0" smtClean="0">
                <a:solidFill>
                  <a:srgbClr val="364049"/>
                </a:solidFill>
                <a:latin typeface="Univers LT Std 65 Bold"/>
                <a:ea typeface="Univers LT Std 65 Bold"/>
                <a:cs typeface="Univers LT Std 65 Bold"/>
              </a:rPr>
              <a:t>Además España </a:t>
            </a:r>
            <a:r>
              <a:rPr lang="es-ES" sz="1100" kern="0" dirty="0">
                <a:solidFill>
                  <a:srgbClr val="364049"/>
                </a:solidFill>
                <a:latin typeface="Univers LT Std 65 Bold"/>
                <a:ea typeface="Univers LT Std 65 Bold"/>
                <a:cs typeface="Univers LT Std 65 Bold"/>
              </a:rPr>
              <a:t>tiene más cisternas de GNL (280) que todo el resto de Europa junta</a:t>
            </a:r>
          </a:p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endParaRPr lang="es-ES" sz="1100" kern="0" dirty="0">
              <a:solidFill>
                <a:srgbClr val="364049"/>
              </a:solidFill>
              <a:latin typeface="Univers LT Std 65 Bold"/>
              <a:ea typeface="Univers LT Std 65 Bold"/>
              <a:cs typeface="Univers LT Std 65 Bold"/>
            </a:endParaRPr>
          </a:p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lang="es-ES" sz="1100" kern="0" dirty="0">
                <a:solidFill>
                  <a:srgbClr val="364049"/>
                </a:solidFill>
                <a:latin typeface="Univers LT Std 65 Bold"/>
                <a:ea typeface="Univers LT Std 65 Bold"/>
                <a:cs typeface="Univers LT Std 65 Bold"/>
              </a:rPr>
              <a:t>En España hay </a:t>
            </a:r>
            <a:r>
              <a:rPr lang="es-ES" sz="1100" kern="0" dirty="0">
                <a:solidFill>
                  <a:srgbClr val="41B9E6"/>
                </a:solidFill>
                <a:latin typeface="Univers LT Std 65 Bold"/>
                <a:ea typeface="Univers LT Std 65 Bold"/>
                <a:cs typeface="Univers LT Std 65 Bold"/>
              </a:rPr>
              <a:t>29 estaciones </a:t>
            </a:r>
            <a:r>
              <a:rPr lang="es-ES" sz="1100" kern="0" dirty="0">
                <a:solidFill>
                  <a:srgbClr val="364049"/>
                </a:solidFill>
                <a:latin typeface="Univers LT Std 65 Bold"/>
                <a:ea typeface="Univers LT Std 65 Bold"/>
                <a:cs typeface="Univers LT Std 65 Bold"/>
              </a:rPr>
              <a:t>de carga de GNL para camiones. Somos el país Europeo con la infraestructura más desarrollada</a:t>
            </a:r>
            <a:r>
              <a:rPr lang="es-ES" sz="1100" dirty="0">
                <a:solidFill>
                  <a:srgbClr val="000000"/>
                </a:solidFill>
                <a:latin typeface="Corbel" panose="020B0503020204020204" pitchFamily="34" charset="0"/>
              </a:rPr>
              <a:t>.</a:t>
            </a:r>
          </a:p>
        </p:txBody>
      </p:sp>
      <p:sp>
        <p:nvSpPr>
          <p:cNvPr id="22" name="Shape 380"/>
          <p:cNvSpPr/>
          <p:nvPr/>
        </p:nvSpPr>
        <p:spPr>
          <a:xfrm>
            <a:off x="8046711" y="2149459"/>
            <a:ext cx="3437816" cy="4521419"/>
          </a:xfrm>
          <a:prstGeom prst="rect">
            <a:avLst/>
          </a:prstGeom>
          <a:solidFill>
            <a:schemeClr val="bg1"/>
          </a:solidFill>
          <a:ln>
            <a:solidFill>
              <a:srgbClr val="0554FA"/>
            </a:solidFill>
            <a:miter lim="400000"/>
          </a:ln>
        </p:spPr>
        <p:txBody>
          <a:bodyPr lIns="35719" tIns="35719" rIns="35719" bIns="35719" anchor="ctr"/>
          <a:lstStyle/>
          <a:p>
            <a:pPr algn="ctr" defTabSz="410765" hangingPunct="0">
              <a:defRPr sz="2200">
                <a:solidFill>
                  <a:srgbClr val="FFFFFF"/>
                </a:solidFill>
              </a:defRPr>
            </a:pPr>
            <a:endParaRPr sz="1650" kern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pic>
        <p:nvPicPr>
          <p:cNvPr id="17" name="Imagen 16">
            <a:extLst>
              <a:ext uri="{FF2B5EF4-FFF2-40B4-BE49-F238E27FC236}">
                <a16:creationId xmlns:a16="http://schemas.microsoft.com/office/drawing/2014/main" id="{C4249977-E0D3-49D0-B249-4FB076E6533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30295" y="4104050"/>
            <a:ext cx="2703454" cy="1290951"/>
          </a:xfrm>
          <a:prstGeom prst="rect">
            <a:avLst/>
          </a:prstGeom>
        </p:spPr>
      </p:pic>
      <p:sp>
        <p:nvSpPr>
          <p:cNvPr id="18" name="Rectángulo 17"/>
          <p:cNvSpPr/>
          <p:nvPr/>
        </p:nvSpPr>
        <p:spPr>
          <a:xfrm>
            <a:off x="8213617" y="5435924"/>
            <a:ext cx="3039375" cy="8540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defTabSz="685800" hangingPunct="0">
              <a:lnSpc>
                <a:spcPct val="90000"/>
              </a:lnSpc>
              <a:defRPr sz="2100">
                <a:solidFill>
                  <a:srgbClr val="054CF9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defRPr>
            </a:pPr>
            <a:r>
              <a:rPr lang="es-ES" sz="1100" kern="0" dirty="0" smtClean="0">
                <a:solidFill>
                  <a:srgbClr val="364049"/>
                </a:solidFill>
                <a:latin typeface="Univers LT Std 65 Bold"/>
                <a:ea typeface="Univers LT Std 65 Bold"/>
                <a:cs typeface="Univers LT Std 65 Bold"/>
              </a:rPr>
              <a:t>Se ha incrementado un 38% el parque total de vehículos en 2017, hasta alcanzar las </a:t>
            </a:r>
            <a:r>
              <a:rPr lang="es-ES" sz="1100" kern="0" dirty="0" smtClean="0">
                <a:solidFill>
                  <a:srgbClr val="41B9E6"/>
                </a:solidFill>
                <a:latin typeface="Univers LT Std 65 Bold"/>
                <a:ea typeface="Univers LT Std 65 Bold"/>
                <a:cs typeface="Univers LT Std 65 Bold"/>
              </a:rPr>
              <a:t>8.471 unidades</a:t>
            </a:r>
          </a:p>
          <a:p>
            <a:pPr lvl="0" algn="just" defTabSz="685800" hangingPunct="0">
              <a:lnSpc>
                <a:spcPct val="90000"/>
              </a:lnSpc>
              <a:defRPr sz="2100">
                <a:solidFill>
                  <a:srgbClr val="054CF9"/>
                </a:solidFill>
                <a:latin typeface="Univers LT Std 65 Bold"/>
                <a:ea typeface="Univers LT Std 65 Bold"/>
                <a:cs typeface="Univers LT Std 65 Bold"/>
                <a:sym typeface="Univers LT Std 65 Bold"/>
              </a:defRPr>
            </a:pPr>
            <a:r>
              <a:rPr lang="es-ES" sz="1100" kern="0" dirty="0" smtClean="0">
                <a:solidFill>
                  <a:srgbClr val="364049"/>
                </a:solidFill>
                <a:latin typeface="Univers LT Std 65 Bold"/>
                <a:ea typeface="Univers LT Std 65 Bold"/>
                <a:cs typeface="Univers LT Std 65 Bold"/>
              </a:rPr>
              <a:t>Ya hay vehículos hasta con 460 CV y 1.500 </a:t>
            </a:r>
            <a:r>
              <a:rPr lang="es-ES" sz="1100" kern="0" dirty="0" err="1" smtClean="0">
                <a:solidFill>
                  <a:srgbClr val="364049"/>
                </a:solidFill>
                <a:latin typeface="Univers LT Std 65 Bold"/>
                <a:ea typeface="Univers LT Std 65 Bold"/>
                <a:cs typeface="Univers LT Std 65 Bold"/>
              </a:rPr>
              <a:t>kms</a:t>
            </a:r>
            <a:r>
              <a:rPr lang="es-ES" sz="1100" kern="0" dirty="0" smtClean="0">
                <a:solidFill>
                  <a:srgbClr val="364049"/>
                </a:solidFill>
                <a:latin typeface="Univers LT Std 65 Bold"/>
                <a:ea typeface="Univers LT Std 65 Bold"/>
                <a:cs typeface="Univers LT Std 65 Bold"/>
              </a:rPr>
              <a:t> de autonomía</a:t>
            </a:r>
            <a:endParaRPr lang="es-ES" sz="1100" kern="0" dirty="0">
              <a:solidFill>
                <a:srgbClr val="364049"/>
              </a:solidFill>
              <a:latin typeface="Univers LT Std 65 Bold"/>
              <a:ea typeface="Univers LT Std 65 Bold"/>
              <a:cs typeface="Univers LT Std 65 Bold"/>
              <a:sym typeface="Univers LT Std 65 Bold"/>
            </a:endParaRPr>
          </a:p>
        </p:txBody>
      </p:sp>
      <p:pic>
        <p:nvPicPr>
          <p:cNvPr id="19" name="Imagen 18" descr="Imagen que contiene captura de pantalla&#10;&#10;Descripción generada con confianza muy alta">
            <a:extLst>
              <a:ext uri="{FF2B5EF4-FFF2-40B4-BE49-F238E27FC236}">
                <a16:creationId xmlns:a16="http://schemas.microsoft.com/office/drawing/2014/main" id="{3D8371D1-8AC8-4D38-8E22-641B9DE8476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7167" y="2346176"/>
            <a:ext cx="2730499" cy="1737992"/>
          </a:xfrm>
          <a:prstGeom prst="rect">
            <a:avLst/>
          </a:prstGeom>
        </p:spPr>
      </p:pic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0781"/>
          <a:stretch/>
        </p:blipFill>
        <p:spPr>
          <a:xfrm>
            <a:off x="10836067" y="6414756"/>
            <a:ext cx="715974" cy="2176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5547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6" name="shutterstock_70856101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H="1">
            <a:off x="-9258" y="-16297"/>
            <a:ext cx="12210515" cy="3232597"/>
          </a:xfrm>
          <a:prstGeom prst="rect">
            <a:avLst/>
          </a:prstGeom>
          <a:ln w="3175">
            <a:miter lim="400000"/>
          </a:ln>
        </p:spPr>
      </p:pic>
      <p:grpSp>
        <p:nvGrpSpPr>
          <p:cNvPr id="383" name="Group 383"/>
          <p:cNvGrpSpPr/>
          <p:nvPr/>
        </p:nvGrpSpPr>
        <p:grpSpPr>
          <a:xfrm>
            <a:off x="8393839" y="2157500"/>
            <a:ext cx="1355777" cy="1355777"/>
            <a:chOff x="0" y="0"/>
            <a:chExt cx="1807701" cy="1807701"/>
          </a:xfrm>
        </p:grpSpPr>
        <p:sp>
          <p:nvSpPr>
            <p:cNvPr id="381" name="Shape 381"/>
            <p:cNvSpPr/>
            <p:nvPr/>
          </p:nvSpPr>
          <p:spPr>
            <a:xfrm>
              <a:off x="0" y="0"/>
              <a:ext cx="1807702" cy="1807702"/>
            </a:xfrm>
            <a:prstGeom prst="ellipse">
              <a:avLst/>
            </a:prstGeom>
            <a:solidFill>
              <a:srgbClr val="55BE5A"/>
            </a:solidFill>
            <a:ln w="3175" cap="flat">
              <a:noFill/>
              <a:miter lim="400000"/>
            </a:ln>
            <a:effectLst/>
          </p:spPr>
          <p:txBody>
            <a:bodyPr wrap="square" lIns="35719" tIns="35719" rIns="35719" bIns="35719" numCol="1" anchor="t">
              <a:noAutofit/>
            </a:bodyPr>
            <a:lstStyle/>
            <a:p>
              <a:pPr algn="ctr" defTabSz="438150" hangingPunct="0">
                <a:defRPr sz="2200">
                  <a:solidFill>
                    <a:srgbClr val="FFFFFF"/>
                  </a:solidFill>
                </a:defRPr>
              </a:pPr>
              <a:endParaRPr sz="1650" kern="0">
                <a:solidFill>
                  <a:srgbClr val="FFFFFF"/>
                </a:solidFill>
                <a:latin typeface="Helvetica Light"/>
                <a:sym typeface="Helvetica Light"/>
              </a:endParaRPr>
            </a:p>
          </p:txBody>
        </p:sp>
        <p:pic>
          <p:nvPicPr>
            <p:cNvPr id="382" name="shutterstock_113840083.jpg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25353" y="25098"/>
              <a:ext cx="1757367" cy="17573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7" y="0"/>
                  </a:moveTo>
                  <a:cubicBezTo>
                    <a:pt x="7319" y="0"/>
                    <a:pt x="4803" y="1057"/>
                    <a:pt x="2882" y="3166"/>
                  </a:cubicBezTo>
                  <a:cubicBezTo>
                    <a:pt x="-961" y="7384"/>
                    <a:pt x="-961" y="14221"/>
                    <a:pt x="2882" y="18439"/>
                  </a:cubicBezTo>
                  <a:cubicBezTo>
                    <a:pt x="4803" y="20548"/>
                    <a:pt x="7319" y="21600"/>
                    <a:pt x="9837" y="21600"/>
                  </a:cubicBezTo>
                  <a:cubicBezTo>
                    <a:pt x="12355" y="21600"/>
                    <a:pt x="14875" y="20548"/>
                    <a:pt x="16796" y="18439"/>
                  </a:cubicBezTo>
                  <a:cubicBezTo>
                    <a:pt x="20639" y="14221"/>
                    <a:pt x="20639" y="7384"/>
                    <a:pt x="16796" y="3166"/>
                  </a:cubicBezTo>
                  <a:cubicBezTo>
                    <a:pt x="14875" y="1057"/>
                    <a:pt x="12355" y="0"/>
                    <a:pt x="9837" y="0"/>
                  </a:cubicBezTo>
                  <a:close/>
                </a:path>
              </a:pathLst>
            </a:custGeom>
            <a:ln w="3175" cap="flat">
              <a:noFill/>
              <a:miter lim="400000"/>
            </a:ln>
            <a:effectLst/>
          </p:spPr>
        </p:pic>
      </p:grpSp>
      <p:grpSp>
        <p:nvGrpSpPr>
          <p:cNvPr id="386" name="Group 386"/>
          <p:cNvGrpSpPr/>
          <p:nvPr/>
        </p:nvGrpSpPr>
        <p:grpSpPr>
          <a:xfrm>
            <a:off x="6905976" y="2157500"/>
            <a:ext cx="1355777" cy="1355777"/>
            <a:chOff x="0" y="0"/>
            <a:chExt cx="1807701" cy="1807701"/>
          </a:xfrm>
        </p:grpSpPr>
        <p:sp>
          <p:nvSpPr>
            <p:cNvPr id="384" name="Shape 384"/>
            <p:cNvSpPr/>
            <p:nvPr/>
          </p:nvSpPr>
          <p:spPr>
            <a:xfrm>
              <a:off x="0" y="0"/>
              <a:ext cx="1807702" cy="1807702"/>
            </a:xfrm>
            <a:prstGeom prst="ellipse">
              <a:avLst/>
            </a:prstGeom>
            <a:solidFill>
              <a:srgbClr val="55BE5A"/>
            </a:solidFill>
            <a:ln w="3175" cap="flat">
              <a:noFill/>
              <a:miter lim="400000"/>
            </a:ln>
            <a:effectLst/>
          </p:spPr>
          <p:txBody>
            <a:bodyPr wrap="square" lIns="35719" tIns="35719" rIns="35719" bIns="35719" numCol="1" anchor="t">
              <a:noAutofit/>
            </a:bodyPr>
            <a:lstStyle/>
            <a:p>
              <a:pPr algn="ctr" defTabSz="438150" hangingPunct="0">
                <a:defRPr sz="2200">
                  <a:solidFill>
                    <a:srgbClr val="FFFFFF"/>
                  </a:solidFill>
                </a:defRPr>
              </a:pPr>
              <a:endParaRPr sz="1650" kern="0">
                <a:solidFill>
                  <a:srgbClr val="FFFFFF"/>
                </a:solidFill>
                <a:latin typeface="Helvetica Light"/>
                <a:sym typeface="Helvetica Light"/>
              </a:endParaRPr>
            </a:p>
          </p:txBody>
        </p:sp>
        <p:pic>
          <p:nvPicPr>
            <p:cNvPr id="385" name="image10.jpg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25352" y="25098"/>
              <a:ext cx="1757367" cy="17573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7" y="0"/>
                  </a:moveTo>
                  <a:cubicBezTo>
                    <a:pt x="7319" y="0"/>
                    <a:pt x="4803" y="1057"/>
                    <a:pt x="2882" y="3166"/>
                  </a:cubicBezTo>
                  <a:cubicBezTo>
                    <a:pt x="-961" y="7384"/>
                    <a:pt x="-961" y="14221"/>
                    <a:pt x="2882" y="18439"/>
                  </a:cubicBezTo>
                  <a:cubicBezTo>
                    <a:pt x="4803" y="20548"/>
                    <a:pt x="7319" y="21600"/>
                    <a:pt x="9837" y="21600"/>
                  </a:cubicBezTo>
                  <a:cubicBezTo>
                    <a:pt x="12355" y="21600"/>
                    <a:pt x="14875" y="20548"/>
                    <a:pt x="16796" y="18439"/>
                  </a:cubicBezTo>
                  <a:cubicBezTo>
                    <a:pt x="20639" y="14221"/>
                    <a:pt x="20639" y="7384"/>
                    <a:pt x="16796" y="3166"/>
                  </a:cubicBezTo>
                  <a:cubicBezTo>
                    <a:pt x="14875" y="1057"/>
                    <a:pt x="12355" y="0"/>
                    <a:pt x="9837" y="0"/>
                  </a:cubicBezTo>
                  <a:close/>
                </a:path>
              </a:pathLst>
            </a:custGeom>
            <a:ln w="3175" cap="flat">
              <a:noFill/>
              <a:miter lim="400000"/>
            </a:ln>
            <a:effectLst/>
          </p:spPr>
        </p:pic>
      </p:grpSp>
      <p:grpSp>
        <p:nvGrpSpPr>
          <p:cNvPr id="389" name="Group 389"/>
          <p:cNvGrpSpPr/>
          <p:nvPr/>
        </p:nvGrpSpPr>
        <p:grpSpPr>
          <a:xfrm>
            <a:off x="5418112" y="2157500"/>
            <a:ext cx="1355777" cy="1355777"/>
            <a:chOff x="0" y="0"/>
            <a:chExt cx="1807701" cy="1807701"/>
          </a:xfrm>
        </p:grpSpPr>
        <p:sp>
          <p:nvSpPr>
            <p:cNvPr id="387" name="Shape 387"/>
            <p:cNvSpPr/>
            <p:nvPr/>
          </p:nvSpPr>
          <p:spPr>
            <a:xfrm>
              <a:off x="0" y="0"/>
              <a:ext cx="1807702" cy="1807702"/>
            </a:xfrm>
            <a:prstGeom prst="ellipse">
              <a:avLst/>
            </a:prstGeom>
            <a:solidFill>
              <a:srgbClr val="55BE5A"/>
            </a:solidFill>
            <a:ln w="3175" cap="flat">
              <a:noFill/>
              <a:miter lim="400000"/>
            </a:ln>
            <a:effectLst/>
          </p:spPr>
          <p:txBody>
            <a:bodyPr wrap="square" lIns="35719" tIns="35719" rIns="35719" bIns="35719" numCol="1" anchor="t">
              <a:noAutofit/>
            </a:bodyPr>
            <a:lstStyle/>
            <a:p>
              <a:pPr algn="ctr" defTabSz="438150" hangingPunct="0">
                <a:defRPr sz="2200">
                  <a:solidFill>
                    <a:srgbClr val="FFFFFF"/>
                  </a:solidFill>
                </a:defRPr>
              </a:pPr>
              <a:endParaRPr sz="1650" kern="0">
                <a:solidFill>
                  <a:srgbClr val="FFFFFF"/>
                </a:solidFill>
                <a:latin typeface="Helvetica Light"/>
                <a:sym typeface="Helvetica Light"/>
              </a:endParaRPr>
            </a:p>
          </p:txBody>
        </p:sp>
        <p:pic>
          <p:nvPicPr>
            <p:cNvPr id="388" name="shutterstock_459781624.jpg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25352" y="25098"/>
              <a:ext cx="1757367" cy="17573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7" y="0"/>
                  </a:moveTo>
                  <a:cubicBezTo>
                    <a:pt x="7319" y="0"/>
                    <a:pt x="4803" y="1057"/>
                    <a:pt x="2882" y="3166"/>
                  </a:cubicBezTo>
                  <a:cubicBezTo>
                    <a:pt x="-961" y="7384"/>
                    <a:pt x="-961" y="14221"/>
                    <a:pt x="2882" y="18439"/>
                  </a:cubicBezTo>
                  <a:cubicBezTo>
                    <a:pt x="4803" y="20548"/>
                    <a:pt x="7319" y="21600"/>
                    <a:pt x="9837" y="21600"/>
                  </a:cubicBezTo>
                  <a:cubicBezTo>
                    <a:pt x="12355" y="21600"/>
                    <a:pt x="14875" y="20548"/>
                    <a:pt x="16796" y="18439"/>
                  </a:cubicBezTo>
                  <a:cubicBezTo>
                    <a:pt x="20639" y="14221"/>
                    <a:pt x="20639" y="7384"/>
                    <a:pt x="16796" y="3166"/>
                  </a:cubicBezTo>
                  <a:cubicBezTo>
                    <a:pt x="14875" y="1057"/>
                    <a:pt x="12355" y="0"/>
                    <a:pt x="9837" y="0"/>
                  </a:cubicBezTo>
                  <a:close/>
                </a:path>
              </a:pathLst>
            </a:custGeom>
            <a:ln w="3175" cap="flat">
              <a:noFill/>
              <a:miter lim="400000"/>
            </a:ln>
            <a:effectLst/>
          </p:spPr>
        </p:pic>
      </p:grpSp>
      <p:grpSp>
        <p:nvGrpSpPr>
          <p:cNvPr id="392" name="Group 392"/>
          <p:cNvGrpSpPr/>
          <p:nvPr/>
        </p:nvGrpSpPr>
        <p:grpSpPr>
          <a:xfrm>
            <a:off x="3930248" y="2157500"/>
            <a:ext cx="1355777" cy="1355777"/>
            <a:chOff x="0" y="0"/>
            <a:chExt cx="1807701" cy="1807701"/>
          </a:xfrm>
        </p:grpSpPr>
        <p:sp>
          <p:nvSpPr>
            <p:cNvPr id="390" name="Shape 390"/>
            <p:cNvSpPr/>
            <p:nvPr/>
          </p:nvSpPr>
          <p:spPr>
            <a:xfrm>
              <a:off x="0" y="0"/>
              <a:ext cx="1807702" cy="1807702"/>
            </a:xfrm>
            <a:prstGeom prst="ellipse">
              <a:avLst/>
            </a:prstGeom>
            <a:solidFill>
              <a:srgbClr val="55BE5A"/>
            </a:solidFill>
            <a:ln w="3175" cap="flat">
              <a:noFill/>
              <a:miter lim="400000"/>
            </a:ln>
            <a:effectLst/>
          </p:spPr>
          <p:txBody>
            <a:bodyPr wrap="square" lIns="35719" tIns="35719" rIns="35719" bIns="35719" numCol="1" anchor="t">
              <a:noAutofit/>
            </a:bodyPr>
            <a:lstStyle/>
            <a:p>
              <a:pPr algn="ctr" defTabSz="438150" hangingPunct="0">
                <a:defRPr sz="2200">
                  <a:solidFill>
                    <a:srgbClr val="FFFFFF"/>
                  </a:solidFill>
                </a:defRPr>
              </a:pPr>
              <a:endParaRPr sz="1650" kern="0">
                <a:solidFill>
                  <a:srgbClr val="FFFFFF"/>
                </a:solidFill>
                <a:latin typeface="Helvetica Light"/>
                <a:sym typeface="Helvetica Light"/>
              </a:endParaRPr>
            </a:p>
          </p:txBody>
        </p:sp>
        <p:pic>
          <p:nvPicPr>
            <p:cNvPr id="391" name="shutterstock_163311605.jpg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25155" y="25098"/>
              <a:ext cx="1757364" cy="17573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cubicBezTo>
                    <a:pt x="8036" y="0"/>
                    <a:pt x="5275" y="1057"/>
                    <a:pt x="3166" y="3166"/>
                  </a:cubicBezTo>
                  <a:cubicBezTo>
                    <a:pt x="1057" y="5275"/>
                    <a:pt x="0" y="8036"/>
                    <a:pt x="0" y="10800"/>
                  </a:cubicBezTo>
                  <a:cubicBezTo>
                    <a:pt x="0" y="13564"/>
                    <a:pt x="1057" y="16330"/>
                    <a:pt x="3166" y="18439"/>
                  </a:cubicBezTo>
                  <a:cubicBezTo>
                    <a:pt x="5275" y="20548"/>
                    <a:pt x="8036" y="21600"/>
                    <a:pt x="10800" y="21600"/>
                  </a:cubicBezTo>
                  <a:cubicBezTo>
                    <a:pt x="13564" y="21600"/>
                    <a:pt x="16330" y="20548"/>
                    <a:pt x="18439" y="18439"/>
                  </a:cubicBezTo>
                  <a:cubicBezTo>
                    <a:pt x="20548" y="16330"/>
                    <a:pt x="21600" y="13564"/>
                    <a:pt x="21600" y="10800"/>
                  </a:cubicBezTo>
                  <a:cubicBezTo>
                    <a:pt x="21600" y="8036"/>
                    <a:pt x="20548" y="5275"/>
                    <a:pt x="18439" y="3166"/>
                  </a:cubicBezTo>
                  <a:cubicBezTo>
                    <a:pt x="16330" y="1057"/>
                    <a:pt x="13564" y="0"/>
                    <a:pt x="10800" y="0"/>
                  </a:cubicBezTo>
                  <a:close/>
                </a:path>
              </a:pathLst>
            </a:custGeom>
            <a:ln w="3175" cap="flat">
              <a:noFill/>
              <a:miter lim="400000"/>
            </a:ln>
            <a:effectLst/>
          </p:spPr>
        </p:pic>
      </p:grpSp>
      <p:grpSp>
        <p:nvGrpSpPr>
          <p:cNvPr id="395" name="Group 395"/>
          <p:cNvGrpSpPr/>
          <p:nvPr/>
        </p:nvGrpSpPr>
        <p:grpSpPr>
          <a:xfrm>
            <a:off x="2442384" y="2157500"/>
            <a:ext cx="1355777" cy="1355777"/>
            <a:chOff x="0" y="0"/>
            <a:chExt cx="1807701" cy="1807701"/>
          </a:xfrm>
        </p:grpSpPr>
        <p:sp>
          <p:nvSpPr>
            <p:cNvPr id="393" name="Shape 393"/>
            <p:cNvSpPr/>
            <p:nvPr/>
          </p:nvSpPr>
          <p:spPr>
            <a:xfrm>
              <a:off x="0" y="0"/>
              <a:ext cx="1807702" cy="1807702"/>
            </a:xfrm>
            <a:prstGeom prst="ellipse">
              <a:avLst/>
            </a:prstGeom>
            <a:solidFill>
              <a:srgbClr val="55BE5A"/>
            </a:solidFill>
            <a:ln w="3175" cap="flat">
              <a:noFill/>
              <a:miter lim="400000"/>
            </a:ln>
            <a:effectLst/>
          </p:spPr>
          <p:txBody>
            <a:bodyPr wrap="square" lIns="35719" tIns="35719" rIns="35719" bIns="35719" numCol="1" anchor="t">
              <a:noAutofit/>
            </a:bodyPr>
            <a:lstStyle/>
            <a:p>
              <a:pPr algn="ctr" defTabSz="438150" hangingPunct="0">
                <a:defRPr sz="2200">
                  <a:solidFill>
                    <a:srgbClr val="FFFFFF"/>
                  </a:solidFill>
                </a:defRPr>
              </a:pPr>
              <a:endParaRPr sz="1650" kern="0">
                <a:solidFill>
                  <a:srgbClr val="FFFFFF"/>
                </a:solidFill>
                <a:latin typeface="Helvetica Light"/>
                <a:sym typeface="Helvetica Light"/>
              </a:endParaRPr>
            </a:p>
          </p:txBody>
        </p:sp>
        <p:pic>
          <p:nvPicPr>
            <p:cNvPr id="394" name="shutterstock_474748507.jpg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25352" y="25098"/>
              <a:ext cx="1757367" cy="1757363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19679" h="21600" extrusionOk="0">
                  <a:moveTo>
                    <a:pt x="9837" y="0"/>
                  </a:moveTo>
                  <a:cubicBezTo>
                    <a:pt x="7319" y="0"/>
                    <a:pt x="4803" y="1057"/>
                    <a:pt x="2882" y="3166"/>
                  </a:cubicBezTo>
                  <a:cubicBezTo>
                    <a:pt x="-961" y="7384"/>
                    <a:pt x="-961" y="14221"/>
                    <a:pt x="2882" y="18439"/>
                  </a:cubicBezTo>
                  <a:cubicBezTo>
                    <a:pt x="4803" y="20548"/>
                    <a:pt x="7319" y="21600"/>
                    <a:pt x="9837" y="21600"/>
                  </a:cubicBezTo>
                  <a:cubicBezTo>
                    <a:pt x="12355" y="21600"/>
                    <a:pt x="14875" y="20548"/>
                    <a:pt x="16796" y="18439"/>
                  </a:cubicBezTo>
                  <a:cubicBezTo>
                    <a:pt x="20639" y="14221"/>
                    <a:pt x="20639" y="7384"/>
                    <a:pt x="16796" y="3166"/>
                  </a:cubicBezTo>
                  <a:cubicBezTo>
                    <a:pt x="14875" y="1057"/>
                    <a:pt x="12355" y="0"/>
                    <a:pt x="9837" y="0"/>
                  </a:cubicBezTo>
                  <a:close/>
                </a:path>
              </a:pathLst>
            </a:custGeom>
            <a:ln w="3175" cap="flat">
              <a:noFill/>
              <a:miter lim="400000"/>
            </a:ln>
            <a:effectLst/>
          </p:spPr>
        </p:pic>
      </p:grpSp>
      <p:grpSp>
        <p:nvGrpSpPr>
          <p:cNvPr id="5" name="Agrupar 4"/>
          <p:cNvGrpSpPr/>
          <p:nvPr/>
        </p:nvGrpSpPr>
        <p:grpSpPr>
          <a:xfrm>
            <a:off x="2288443" y="5384417"/>
            <a:ext cx="9430316" cy="764379"/>
            <a:chOff x="3051257" y="7179219"/>
            <a:chExt cx="10326918" cy="1019172"/>
          </a:xfrm>
        </p:grpSpPr>
        <p:sp>
          <p:nvSpPr>
            <p:cNvPr id="371" name="Shape 371"/>
            <p:cNvSpPr/>
            <p:nvPr/>
          </p:nvSpPr>
          <p:spPr>
            <a:xfrm>
              <a:off x="7372553" y="7723187"/>
              <a:ext cx="696254" cy="1"/>
            </a:xfrm>
            <a:prstGeom prst="line">
              <a:avLst/>
            </a:prstGeom>
            <a:ln w="12700">
              <a:solidFill>
                <a:srgbClr val="0554FA"/>
              </a:solidFill>
              <a:miter lim="400000"/>
              <a:tailEnd type="triangle"/>
            </a:ln>
          </p:spPr>
          <p:txBody>
            <a:bodyPr lIns="35719" tIns="35719" rIns="35719" bIns="35719" anchor="ctr"/>
            <a:lstStyle/>
            <a:p>
              <a:pPr algn="ctr" defTabSz="410765" hangingPunct="0">
                <a:defRPr sz="2200"/>
              </a:pPr>
              <a:endParaRPr sz="1650" kern="0">
                <a:solidFill>
                  <a:srgbClr val="000000"/>
                </a:solidFill>
                <a:latin typeface="Helvetica Light"/>
                <a:sym typeface="Helvetica Light"/>
              </a:endParaRPr>
            </a:p>
          </p:txBody>
        </p:sp>
        <p:sp>
          <p:nvSpPr>
            <p:cNvPr id="372" name="Shape 372"/>
            <p:cNvSpPr/>
            <p:nvPr/>
          </p:nvSpPr>
          <p:spPr>
            <a:xfrm>
              <a:off x="3184512" y="7313831"/>
              <a:ext cx="4047959" cy="742512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lIns="35719" tIns="35719" rIns="35719" bIns="35719" anchor="ctr">
              <a:spAutoFit/>
            </a:bodyPr>
            <a:lstStyle>
              <a:lvl1pPr algn="l" defTabSz="1219200">
                <a:defRPr sz="4200">
                  <a:solidFill>
                    <a:srgbClr val="0554FA"/>
                  </a:solidFill>
                  <a:latin typeface="Helvetica"/>
                  <a:ea typeface="Helvetica"/>
                  <a:cs typeface="Helvetica"/>
                  <a:sym typeface="Helvetica"/>
                </a:defRPr>
              </a:lvl1pPr>
            </a:lstStyle>
            <a:p>
              <a:pPr defTabSz="914400" hangingPunct="0"/>
              <a:r>
                <a:rPr sz="3150" kern="0" dirty="0"/>
                <a:t>GNV vs gasóleo</a:t>
              </a:r>
            </a:p>
          </p:txBody>
        </p:sp>
        <p:sp>
          <p:nvSpPr>
            <p:cNvPr id="373" name="Shape 373"/>
            <p:cNvSpPr/>
            <p:nvPr/>
          </p:nvSpPr>
          <p:spPr>
            <a:xfrm>
              <a:off x="8208888" y="7179219"/>
              <a:ext cx="1183642" cy="692495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lIns="45719" tIns="45719" rIns="45719" bIns="45719">
              <a:spAutoFit/>
            </a:bodyPr>
            <a:lstStyle/>
            <a:p>
              <a:pPr algn="ctr" hangingPunct="0">
                <a:defRPr sz="3700" b="1">
                  <a:solidFill>
                    <a:srgbClr val="55BE5A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r>
                <a:rPr sz="2775" b="1" kern="0" dirty="0">
                  <a:solidFill>
                    <a:srgbClr val="55BE5A"/>
                  </a:solidFill>
                  <a:latin typeface="Arial"/>
                  <a:cs typeface="Arial"/>
                  <a:sym typeface="Arial"/>
                </a:rPr>
                <a:t>CO</a:t>
              </a:r>
              <a:r>
                <a:rPr sz="2775" b="1" kern="0" baseline="-18324" dirty="0">
                  <a:solidFill>
                    <a:srgbClr val="55BE5A"/>
                  </a:solidFill>
                  <a:latin typeface="Arial"/>
                  <a:cs typeface="Arial"/>
                  <a:sym typeface="Arial"/>
                </a:rPr>
                <a:t>2</a:t>
              </a:r>
            </a:p>
          </p:txBody>
        </p:sp>
        <p:sp>
          <p:nvSpPr>
            <p:cNvPr id="374" name="Shape 374"/>
            <p:cNvSpPr/>
            <p:nvPr/>
          </p:nvSpPr>
          <p:spPr>
            <a:xfrm>
              <a:off x="8208888" y="7752118"/>
              <a:ext cx="1183642" cy="446273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lIns="45719" tIns="45719" rIns="45719" bIns="45719">
              <a:spAutoFit/>
            </a:bodyPr>
            <a:lstStyle>
              <a:lvl1pPr defTabSz="1219200">
                <a:spcBef>
                  <a:spcPts val="800"/>
                </a:spcBef>
                <a:defRPr sz="2100">
                  <a:solidFill>
                    <a:srgbClr val="55BE5A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pPr algn="ctr" defTabSz="914400" hangingPunct="0">
                <a:spcBef>
                  <a:spcPts val="600"/>
                </a:spcBef>
              </a:pPr>
              <a:r>
                <a:rPr sz="1575" kern="0"/>
                <a:t>-10-25%</a:t>
              </a:r>
            </a:p>
          </p:txBody>
        </p:sp>
        <p:sp>
          <p:nvSpPr>
            <p:cNvPr id="375" name="Shape 375"/>
            <p:cNvSpPr/>
            <p:nvPr/>
          </p:nvSpPr>
          <p:spPr>
            <a:xfrm>
              <a:off x="9649970" y="7179219"/>
              <a:ext cx="1183642" cy="692495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lIns="45719" tIns="45719" rIns="45719" bIns="45719">
              <a:spAutoFit/>
            </a:bodyPr>
            <a:lstStyle/>
            <a:p>
              <a:pPr algn="ctr" hangingPunct="0">
                <a:defRPr sz="3700" b="1">
                  <a:solidFill>
                    <a:srgbClr val="55BE5A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r>
                <a:rPr sz="2775" b="1" kern="0" dirty="0">
                  <a:solidFill>
                    <a:srgbClr val="55BE5A"/>
                  </a:solidFill>
                  <a:latin typeface="Arial"/>
                  <a:cs typeface="Arial"/>
                  <a:sym typeface="Arial"/>
                </a:rPr>
                <a:t>NO</a:t>
              </a:r>
              <a:r>
                <a:rPr lang="es-ES" sz="2775" b="1" kern="0" baseline="-18324" dirty="0">
                  <a:solidFill>
                    <a:srgbClr val="55BE5A"/>
                  </a:solidFill>
                  <a:latin typeface="Arial"/>
                  <a:cs typeface="Arial"/>
                  <a:sym typeface="Arial"/>
                </a:rPr>
                <a:t>x</a:t>
              </a:r>
              <a:endParaRPr sz="2775" b="1" kern="0" baseline="-18324" dirty="0">
                <a:solidFill>
                  <a:srgbClr val="55BE5A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76" name="Shape 376"/>
            <p:cNvSpPr/>
            <p:nvPr/>
          </p:nvSpPr>
          <p:spPr>
            <a:xfrm>
              <a:off x="9649970" y="7752118"/>
              <a:ext cx="1183642" cy="446273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lIns="45719" tIns="45719" rIns="45719" bIns="45719">
              <a:spAutoFit/>
            </a:bodyPr>
            <a:lstStyle>
              <a:lvl1pPr defTabSz="1219200">
                <a:spcBef>
                  <a:spcPts val="800"/>
                </a:spcBef>
                <a:defRPr sz="2100">
                  <a:solidFill>
                    <a:srgbClr val="55BE5A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pPr algn="ctr" defTabSz="914400" hangingPunct="0">
                <a:spcBef>
                  <a:spcPts val="600"/>
                </a:spcBef>
              </a:pPr>
              <a:r>
                <a:rPr sz="1575" kern="0"/>
                <a:t>-70-85%</a:t>
              </a:r>
            </a:p>
          </p:txBody>
        </p:sp>
        <p:sp>
          <p:nvSpPr>
            <p:cNvPr id="377" name="Shape 377"/>
            <p:cNvSpPr/>
            <p:nvPr/>
          </p:nvSpPr>
          <p:spPr>
            <a:xfrm>
              <a:off x="10918407" y="7183463"/>
              <a:ext cx="1183642" cy="692495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lIns="45719" tIns="45719" rIns="45719" bIns="45719">
              <a:spAutoFit/>
            </a:bodyPr>
            <a:lstStyle/>
            <a:p>
              <a:pPr algn="ctr" hangingPunct="0">
                <a:defRPr sz="3700" b="1">
                  <a:solidFill>
                    <a:srgbClr val="55BE5A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r>
                <a:rPr sz="2775" b="1" kern="0" dirty="0">
                  <a:solidFill>
                    <a:srgbClr val="55BE5A"/>
                  </a:solidFill>
                  <a:latin typeface="Arial"/>
                  <a:cs typeface="Arial"/>
                  <a:sym typeface="Arial"/>
                </a:rPr>
                <a:t>SO</a:t>
              </a:r>
              <a:r>
                <a:rPr sz="2775" b="1" kern="0" baseline="-18324" dirty="0">
                  <a:solidFill>
                    <a:srgbClr val="55BE5A"/>
                  </a:solidFill>
                  <a:latin typeface="Arial"/>
                  <a:cs typeface="Arial"/>
                  <a:sym typeface="Arial"/>
                </a:rPr>
                <a:t>2</a:t>
              </a:r>
            </a:p>
          </p:txBody>
        </p:sp>
        <p:sp>
          <p:nvSpPr>
            <p:cNvPr id="378" name="Shape 378"/>
            <p:cNvSpPr/>
            <p:nvPr/>
          </p:nvSpPr>
          <p:spPr>
            <a:xfrm>
              <a:off x="10918407" y="7743298"/>
              <a:ext cx="1183642" cy="446273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lIns="45719" tIns="45719" rIns="45719" bIns="45719">
              <a:spAutoFit/>
            </a:bodyPr>
            <a:lstStyle>
              <a:lvl1pPr defTabSz="1219200">
                <a:spcBef>
                  <a:spcPts val="800"/>
                </a:spcBef>
                <a:defRPr sz="2100">
                  <a:solidFill>
                    <a:srgbClr val="55BE5A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</a:lstStyle>
            <a:p>
              <a:pPr algn="ctr" defTabSz="914400" hangingPunct="0">
                <a:spcBef>
                  <a:spcPts val="600"/>
                </a:spcBef>
              </a:pPr>
              <a:r>
                <a:rPr sz="1575" kern="0"/>
                <a:t>-100%</a:t>
              </a:r>
            </a:p>
          </p:txBody>
        </p:sp>
        <p:sp>
          <p:nvSpPr>
            <p:cNvPr id="379" name="Shape 379"/>
            <p:cNvSpPr/>
            <p:nvPr/>
          </p:nvSpPr>
          <p:spPr>
            <a:xfrm>
              <a:off x="12194534" y="7462814"/>
              <a:ext cx="1183641" cy="724299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lIns="45719" tIns="45719" rIns="45719" bIns="45719">
              <a:spAutoFit/>
            </a:bodyPr>
            <a:lstStyle/>
            <a:p>
              <a:pPr algn="ctr" hangingPunct="0">
                <a:lnSpc>
                  <a:spcPct val="90000"/>
                </a:lnSpc>
                <a:spcBef>
                  <a:spcPts val="150"/>
                </a:spcBef>
                <a:defRPr sz="1400" b="1">
                  <a:solidFill>
                    <a:srgbClr val="55BE5A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r>
                <a:rPr sz="1350" b="1" kern="0" dirty="0" err="1">
                  <a:solidFill>
                    <a:srgbClr val="55BE5A"/>
                  </a:solidFill>
                  <a:latin typeface="Arial"/>
                  <a:cs typeface="Arial"/>
                  <a:sym typeface="Arial"/>
                </a:rPr>
                <a:t>Partículas</a:t>
              </a:r>
              <a:endParaRPr sz="825" b="1" kern="0" dirty="0">
                <a:solidFill>
                  <a:srgbClr val="55BE5A"/>
                </a:solidFill>
                <a:latin typeface="Arial"/>
                <a:cs typeface="Arial"/>
                <a:sym typeface="Arial"/>
              </a:endParaRPr>
            </a:p>
            <a:p>
              <a:pPr algn="ctr" hangingPunct="0">
                <a:lnSpc>
                  <a:spcPct val="90000"/>
                </a:lnSpc>
                <a:spcBef>
                  <a:spcPts val="600"/>
                </a:spcBef>
                <a:defRPr sz="1800">
                  <a:solidFill>
                    <a:srgbClr val="55BE5A"/>
                  </a:solidFill>
                  <a:latin typeface="Arial"/>
                  <a:ea typeface="Arial"/>
                  <a:cs typeface="Arial"/>
                  <a:sym typeface="Arial"/>
                </a:defRPr>
              </a:pPr>
              <a:r>
                <a:rPr lang="es-ES" sz="1350" kern="0" dirty="0">
                  <a:solidFill>
                    <a:srgbClr val="55BE5A"/>
                  </a:solidFill>
                  <a:latin typeface="Arial"/>
                  <a:cs typeface="Arial"/>
                  <a:sym typeface="Arial"/>
                </a:rPr>
                <a:t>95 </a:t>
              </a:r>
              <a:r>
                <a:rPr sz="1350" kern="0" dirty="0">
                  <a:solidFill>
                    <a:srgbClr val="55BE5A"/>
                  </a:solidFill>
                  <a:latin typeface="Arial"/>
                  <a:cs typeface="Arial"/>
                  <a:sym typeface="Arial"/>
                </a:rPr>
                <a:t>%</a:t>
              </a:r>
            </a:p>
          </p:txBody>
        </p:sp>
        <p:sp>
          <p:nvSpPr>
            <p:cNvPr id="380" name="Shape 380"/>
            <p:cNvSpPr/>
            <p:nvPr/>
          </p:nvSpPr>
          <p:spPr>
            <a:xfrm>
              <a:off x="3051257" y="7309274"/>
              <a:ext cx="4285190" cy="827828"/>
            </a:xfrm>
            <a:prstGeom prst="rect">
              <a:avLst/>
            </a:prstGeom>
            <a:ln>
              <a:solidFill>
                <a:srgbClr val="0554FA"/>
              </a:solidFill>
              <a:miter lim="400000"/>
            </a:ln>
          </p:spPr>
          <p:txBody>
            <a:bodyPr lIns="35719" tIns="35719" rIns="35719" bIns="35719" anchor="ctr"/>
            <a:lstStyle/>
            <a:p>
              <a:pPr algn="ctr" defTabSz="410765" hangingPunct="0">
                <a:defRPr sz="2200">
                  <a:solidFill>
                    <a:srgbClr val="FFFFFF"/>
                  </a:solidFill>
                </a:defRPr>
              </a:pPr>
              <a:endParaRPr sz="1650" kern="0">
                <a:solidFill>
                  <a:srgbClr val="FFFFFF"/>
                </a:solidFill>
                <a:latin typeface="Helvetica Light"/>
                <a:sym typeface="Helvetica Light"/>
              </a:endParaRPr>
            </a:p>
          </p:txBody>
        </p:sp>
        <p:sp>
          <p:nvSpPr>
            <p:cNvPr id="396" name="Shape 396"/>
            <p:cNvSpPr/>
            <p:nvPr/>
          </p:nvSpPr>
          <p:spPr>
            <a:xfrm flipV="1">
              <a:off x="9538961" y="7579431"/>
              <a:ext cx="1" cy="287513"/>
            </a:xfrm>
            <a:prstGeom prst="line">
              <a:avLst/>
            </a:prstGeom>
            <a:ln w="12700">
              <a:solidFill>
                <a:srgbClr val="DCDEE0">
                  <a:alpha val="71295"/>
                </a:srgbClr>
              </a:solidFill>
              <a:miter lim="400000"/>
            </a:ln>
          </p:spPr>
          <p:txBody>
            <a:bodyPr lIns="35719" tIns="35719" rIns="35719" bIns="35719" anchor="ctr"/>
            <a:lstStyle/>
            <a:p>
              <a:pPr algn="ctr" defTabSz="410765" hangingPunct="0">
                <a:defRPr sz="2200"/>
              </a:pPr>
              <a:endParaRPr sz="1650" kern="0">
                <a:solidFill>
                  <a:srgbClr val="000000"/>
                </a:solidFill>
                <a:latin typeface="Helvetica Light"/>
                <a:sym typeface="Helvetica Light"/>
              </a:endParaRPr>
            </a:p>
          </p:txBody>
        </p:sp>
        <p:sp>
          <p:nvSpPr>
            <p:cNvPr id="397" name="Shape 397"/>
            <p:cNvSpPr/>
            <p:nvPr/>
          </p:nvSpPr>
          <p:spPr>
            <a:xfrm flipV="1">
              <a:off x="10924758" y="7579431"/>
              <a:ext cx="1" cy="287513"/>
            </a:xfrm>
            <a:prstGeom prst="line">
              <a:avLst/>
            </a:prstGeom>
            <a:ln w="12700">
              <a:solidFill>
                <a:srgbClr val="DCDEE0">
                  <a:alpha val="71295"/>
                </a:srgbClr>
              </a:solidFill>
              <a:miter lim="400000"/>
            </a:ln>
          </p:spPr>
          <p:txBody>
            <a:bodyPr lIns="35719" tIns="35719" rIns="35719" bIns="35719" anchor="ctr"/>
            <a:lstStyle/>
            <a:p>
              <a:pPr algn="ctr" defTabSz="410765" hangingPunct="0">
                <a:defRPr sz="2200"/>
              </a:pPr>
              <a:endParaRPr sz="1650" kern="0">
                <a:solidFill>
                  <a:srgbClr val="000000"/>
                </a:solidFill>
                <a:latin typeface="Helvetica Light"/>
                <a:sym typeface="Helvetica Light"/>
              </a:endParaRPr>
            </a:p>
          </p:txBody>
        </p:sp>
        <p:sp>
          <p:nvSpPr>
            <p:cNvPr id="398" name="Shape 398"/>
            <p:cNvSpPr/>
            <p:nvPr/>
          </p:nvSpPr>
          <p:spPr>
            <a:xfrm flipV="1">
              <a:off x="12150084" y="7579431"/>
              <a:ext cx="1" cy="287513"/>
            </a:xfrm>
            <a:prstGeom prst="line">
              <a:avLst/>
            </a:prstGeom>
            <a:ln w="12700">
              <a:solidFill>
                <a:srgbClr val="DCDEE0">
                  <a:alpha val="71295"/>
                </a:srgbClr>
              </a:solidFill>
              <a:miter lim="400000"/>
            </a:ln>
          </p:spPr>
          <p:txBody>
            <a:bodyPr lIns="35719" tIns="35719" rIns="35719" bIns="35719" anchor="ctr"/>
            <a:lstStyle/>
            <a:p>
              <a:pPr algn="ctr" defTabSz="410765" hangingPunct="0">
                <a:defRPr sz="2200"/>
              </a:pPr>
              <a:endParaRPr sz="1650" kern="0">
                <a:solidFill>
                  <a:srgbClr val="000000"/>
                </a:solidFill>
                <a:latin typeface="Helvetica Light"/>
                <a:sym typeface="Helvetica Light"/>
              </a:endParaRPr>
            </a:p>
          </p:txBody>
        </p:sp>
      </p:grpSp>
      <p:grpSp>
        <p:nvGrpSpPr>
          <p:cNvPr id="3" name="Agrupar 2"/>
          <p:cNvGrpSpPr/>
          <p:nvPr/>
        </p:nvGrpSpPr>
        <p:grpSpPr>
          <a:xfrm>
            <a:off x="488120" y="3788286"/>
            <a:ext cx="11047276" cy="1278553"/>
            <a:chOff x="650826" y="5051049"/>
            <a:chExt cx="14729701" cy="1704738"/>
          </a:xfrm>
        </p:grpSpPr>
        <p:grpSp>
          <p:nvGrpSpPr>
            <p:cNvPr id="406" name="Group 406"/>
            <p:cNvGrpSpPr/>
            <p:nvPr/>
          </p:nvGrpSpPr>
          <p:grpSpPr>
            <a:xfrm>
              <a:off x="650826" y="5076821"/>
              <a:ext cx="1898992" cy="1280686"/>
              <a:chOff x="0" y="-63127"/>
              <a:chExt cx="1898991" cy="1280684"/>
            </a:xfrm>
          </p:grpSpPr>
          <p:sp>
            <p:nvSpPr>
              <p:cNvPr id="399" name="Shape 399"/>
              <p:cNvSpPr/>
              <p:nvPr/>
            </p:nvSpPr>
            <p:spPr>
              <a:xfrm>
                <a:off x="179595" y="-63127"/>
                <a:ext cx="1719396" cy="973343"/>
              </a:xfrm>
              <a:prstGeom prst="rect">
                <a:avLst/>
              </a:prstGeom>
              <a:noFill/>
              <a:ln w="3175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35719" tIns="35719" rIns="35719" bIns="35719" numCol="1" anchor="ctr">
                <a:spAutoFit/>
              </a:bodyPr>
              <a:lstStyle/>
              <a:p>
                <a:pPr defTabSz="412750" hangingPunct="0">
                  <a:defRPr sz="1900">
                    <a:solidFill>
                      <a:srgbClr val="364049"/>
                    </a:solidFill>
                    <a:latin typeface="Univers LT Std 45 Light"/>
                    <a:ea typeface="Univers LT Std 45 Light"/>
                    <a:cs typeface="Univers LT Std 45 Light"/>
                    <a:sym typeface="Univers LT Std 45 Light"/>
                  </a:defRPr>
                </a:pPr>
                <a:r>
                  <a:rPr sz="1425" kern="0" dirty="0">
                    <a:solidFill>
                      <a:srgbClr val="364049"/>
                    </a:solidFill>
                    <a:latin typeface="Univers LT Std 45 Light"/>
                    <a:sym typeface="Univers LT Std 45 Light"/>
                  </a:rPr>
                  <a:t>Combustión </a:t>
                </a:r>
                <a:br>
                  <a:rPr sz="1425" kern="0" dirty="0">
                    <a:solidFill>
                      <a:srgbClr val="364049"/>
                    </a:solidFill>
                    <a:latin typeface="Univers LT Std 45 Light"/>
                    <a:sym typeface="Univers LT Std 45 Light"/>
                  </a:rPr>
                </a:br>
                <a:r>
                  <a:rPr sz="1425" kern="0" dirty="0">
                    <a:solidFill>
                      <a:srgbClr val="364049"/>
                    </a:solidFill>
                    <a:latin typeface="Univers LT Std 45 Light"/>
                    <a:sym typeface="Univers LT Std 45 Light"/>
                  </a:rPr>
                  <a:t>hasta un </a:t>
                </a:r>
                <a:r>
                  <a:rPr sz="1425" kern="0" dirty="0">
                    <a:solidFill>
                      <a:srgbClr val="364049"/>
                    </a:solidFill>
                    <a:latin typeface="Univers LT Std 65 Bold"/>
                    <a:ea typeface="Univers LT Std 65 Bold"/>
                    <a:cs typeface="Univers LT Std 65 Bold"/>
                    <a:sym typeface="Univers LT Std 65 Bold"/>
                  </a:rPr>
                  <a:t>80% más limpia</a:t>
                </a:r>
              </a:p>
            </p:txBody>
          </p:sp>
          <p:grpSp>
            <p:nvGrpSpPr>
              <p:cNvPr id="402" name="Group 402"/>
              <p:cNvGrpSpPr/>
              <p:nvPr/>
            </p:nvGrpSpPr>
            <p:grpSpPr>
              <a:xfrm>
                <a:off x="0" y="17527"/>
                <a:ext cx="188981" cy="1200030"/>
                <a:chOff x="0" y="0"/>
                <a:chExt cx="188980" cy="1200029"/>
              </a:xfrm>
            </p:grpSpPr>
            <p:sp>
              <p:nvSpPr>
                <p:cNvPr id="400" name="Shape 400"/>
                <p:cNvSpPr/>
                <p:nvPr/>
              </p:nvSpPr>
              <p:spPr>
                <a:xfrm flipV="1">
                  <a:off x="1777" y="21166"/>
                  <a:ext cx="1" cy="1178864"/>
                </a:xfrm>
                <a:prstGeom prst="line">
                  <a:avLst/>
                </a:prstGeom>
                <a:noFill/>
                <a:ln w="12700" cap="flat">
                  <a:solidFill>
                    <a:srgbClr val="55BE5A">
                      <a:alpha val="71295"/>
                    </a:srgbClr>
                  </a:solidFill>
                  <a:prstDash val="solid"/>
                  <a:miter lim="400000"/>
                </a:ln>
                <a:effectLst/>
              </p:spPr>
              <p:txBody>
                <a:bodyPr wrap="square" lIns="35719" tIns="35719" rIns="35719" bIns="35719" numCol="1" anchor="ctr">
                  <a:noAutofit/>
                </a:bodyPr>
                <a:lstStyle/>
                <a:p>
                  <a:pPr algn="ctr" defTabSz="410765" hangingPunct="0">
                    <a:defRPr sz="2200"/>
                  </a:pPr>
                  <a:endParaRPr sz="1650" kern="0">
                    <a:solidFill>
                      <a:srgbClr val="000000"/>
                    </a:solidFill>
                    <a:latin typeface="Helvetica Light"/>
                    <a:sym typeface="Helvetica Light"/>
                  </a:endParaRPr>
                </a:p>
              </p:txBody>
            </p:sp>
            <p:pic>
              <p:nvPicPr>
                <p:cNvPr id="401" name="pasted-image.pdf"/>
                <p:cNvPicPr>
                  <a:picLocks noChangeAspect="1"/>
                </p:cNvPicPr>
                <p:nvPr/>
              </p:nvPicPr>
              <p:blipFill>
                <a:blip r:embed="rId9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>
                <a:xfrm>
                  <a:off x="0" y="0"/>
                  <a:ext cx="188981" cy="205994"/>
                </a:xfrm>
                <a:prstGeom prst="rect">
                  <a:avLst/>
                </a:prstGeom>
                <a:ln w="3175" cap="flat">
                  <a:noFill/>
                  <a:miter lim="400000"/>
                </a:ln>
                <a:effectLst/>
              </p:spPr>
            </p:pic>
          </p:grpSp>
          <p:grpSp>
            <p:nvGrpSpPr>
              <p:cNvPr id="405" name="Group 405"/>
              <p:cNvGrpSpPr/>
              <p:nvPr/>
            </p:nvGrpSpPr>
            <p:grpSpPr>
              <a:xfrm>
                <a:off x="0" y="7680"/>
                <a:ext cx="188981" cy="1200030"/>
                <a:chOff x="0" y="0"/>
                <a:chExt cx="188980" cy="1200029"/>
              </a:xfrm>
            </p:grpSpPr>
            <p:sp>
              <p:nvSpPr>
                <p:cNvPr id="403" name="Shape 403"/>
                <p:cNvSpPr/>
                <p:nvPr/>
              </p:nvSpPr>
              <p:spPr>
                <a:xfrm flipV="1">
                  <a:off x="1777" y="21166"/>
                  <a:ext cx="1" cy="1178864"/>
                </a:xfrm>
                <a:prstGeom prst="line">
                  <a:avLst/>
                </a:prstGeom>
                <a:noFill/>
                <a:ln w="12700" cap="flat">
                  <a:solidFill>
                    <a:srgbClr val="55BE5A">
                      <a:alpha val="71295"/>
                    </a:srgbClr>
                  </a:solidFill>
                  <a:prstDash val="solid"/>
                  <a:miter lim="400000"/>
                </a:ln>
                <a:effectLst/>
              </p:spPr>
              <p:txBody>
                <a:bodyPr wrap="square" lIns="35719" tIns="35719" rIns="35719" bIns="35719" numCol="1" anchor="ctr">
                  <a:noAutofit/>
                </a:bodyPr>
                <a:lstStyle/>
                <a:p>
                  <a:pPr algn="ctr" defTabSz="410765" hangingPunct="0">
                    <a:defRPr sz="2200"/>
                  </a:pPr>
                  <a:endParaRPr sz="1650" kern="0">
                    <a:solidFill>
                      <a:srgbClr val="000000"/>
                    </a:solidFill>
                    <a:latin typeface="Helvetica Light"/>
                    <a:sym typeface="Helvetica Light"/>
                  </a:endParaRPr>
                </a:p>
              </p:txBody>
            </p:sp>
            <p:pic>
              <p:nvPicPr>
                <p:cNvPr id="404" name="pasted-image.pdf"/>
                <p:cNvPicPr>
                  <a:picLocks noChangeAspect="1"/>
                </p:cNvPicPr>
                <p:nvPr/>
              </p:nvPicPr>
              <p:blipFill>
                <a:blip r:embed="rId9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>
                <a:xfrm>
                  <a:off x="0" y="0"/>
                  <a:ext cx="188981" cy="205994"/>
                </a:xfrm>
                <a:prstGeom prst="rect">
                  <a:avLst/>
                </a:prstGeom>
                <a:ln w="3175" cap="flat">
                  <a:noFill/>
                  <a:miter lim="400000"/>
                </a:ln>
                <a:effectLst/>
              </p:spPr>
            </p:pic>
          </p:grpSp>
        </p:grpSp>
        <p:grpSp>
          <p:nvGrpSpPr>
            <p:cNvPr id="411" name="Group 411"/>
            <p:cNvGrpSpPr/>
            <p:nvPr/>
          </p:nvGrpSpPr>
          <p:grpSpPr>
            <a:xfrm>
              <a:off x="2869141" y="5076821"/>
              <a:ext cx="2428655" cy="1270839"/>
              <a:chOff x="0" y="-63127"/>
              <a:chExt cx="2428654" cy="1270837"/>
            </a:xfrm>
          </p:grpSpPr>
          <p:sp>
            <p:nvSpPr>
              <p:cNvPr id="407" name="Shape 407"/>
              <p:cNvSpPr/>
              <p:nvPr/>
            </p:nvSpPr>
            <p:spPr>
              <a:xfrm>
                <a:off x="169488" y="-63127"/>
                <a:ext cx="2259166" cy="973342"/>
              </a:xfrm>
              <a:prstGeom prst="rect">
                <a:avLst/>
              </a:prstGeom>
              <a:noFill/>
              <a:ln w="3175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none" lIns="35719" tIns="35719" rIns="35719" bIns="35719" numCol="1" anchor="ctr">
                <a:spAutoFit/>
              </a:bodyPr>
              <a:lstStyle/>
              <a:p>
                <a:pPr defTabSz="412750" hangingPunct="0">
                  <a:defRPr sz="1900">
                    <a:solidFill>
                      <a:srgbClr val="364049"/>
                    </a:solidFill>
                    <a:latin typeface="Univers LT Std 45 Light"/>
                    <a:ea typeface="Univers LT Std 45 Light"/>
                    <a:cs typeface="Univers LT Std 45 Light"/>
                    <a:sym typeface="Univers LT Std 45 Light"/>
                  </a:defRPr>
                </a:pPr>
                <a:r>
                  <a:rPr sz="1425" kern="0" dirty="0">
                    <a:solidFill>
                      <a:srgbClr val="364049"/>
                    </a:solidFill>
                    <a:latin typeface="Univers LT Std 45 Light"/>
                    <a:sym typeface="Univers LT Std 45 Light"/>
                  </a:rPr>
                  <a:t>Cumplimiento </a:t>
                </a:r>
                <a:br>
                  <a:rPr sz="1425" kern="0" dirty="0">
                    <a:solidFill>
                      <a:srgbClr val="364049"/>
                    </a:solidFill>
                    <a:latin typeface="Univers LT Std 45 Light"/>
                    <a:sym typeface="Univers LT Std 45 Light"/>
                  </a:rPr>
                </a:br>
                <a:r>
                  <a:rPr sz="1425" kern="0" dirty="0">
                    <a:solidFill>
                      <a:srgbClr val="364049"/>
                    </a:solidFill>
                    <a:latin typeface="Univers LT Std 45 Light"/>
                    <a:sym typeface="Univers LT Std 45 Light"/>
                  </a:rPr>
                  <a:t>de la </a:t>
                </a:r>
                <a:r>
                  <a:rPr sz="1425" kern="0" dirty="0">
                    <a:solidFill>
                      <a:srgbClr val="364049"/>
                    </a:solidFill>
                    <a:latin typeface="Univers LT Std 65 Bold"/>
                    <a:ea typeface="Univers LT Std 65 Bold"/>
                    <a:cs typeface="Univers LT Std 65 Bold"/>
                    <a:sym typeface="Univers LT Std 65 Bold"/>
                  </a:rPr>
                  <a:t>normativa</a:t>
                </a:r>
                <a:r>
                  <a:rPr sz="1425" kern="0" dirty="0">
                    <a:solidFill>
                      <a:srgbClr val="364049"/>
                    </a:solidFill>
                    <a:latin typeface="Univers LT Std 45 Light"/>
                    <a:sym typeface="Univers LT Std 45 Light"/>
                  </a:rPr>
                  <a:t> de </a:t>
                </a:r>
                <a:br>
                  <a:rPr sz="1425" kern="0" dirty="0">
                    <a:solidFill>
                      <a:srgbClr val="364049"/>
                    </a:solidFill>
                    <a:latin typeface="Univers LT Std 45 Light"/>
                    <a:sym typeface="Univers LT Std 45 Light"/>
                  </a:rPr>
                </a:br>
                <a:r>
                  <a:rPr sz="1425" kern="0" dirty="0">
                    <a:solidFill>
                      <a:srgbClr val="364049"/>
                    </a:solidFill>
                    <a:latin typeface="Univers LT Std 45 Light"/>
                    <a:sym typeface="Univers LT Std 45 Light"/>
                  </a:rPr>
                  <a:t>emisiones </a:t>
                </a:r>
                <a:r>
                  <a:rPr sz="1425" kern="0" dirty="0">
                    <a:solidFill>
                      <a:srgbClr val="364049"/>
                    </a:solidFill>
                    <a:latin typeface="Univers LT Std 65 Bold"/>
                    <a:ea typeface="Univers LT Std 65 Bold"/>
                    <a:cs typeface="Univers LT Std 65 Bold"/>
                    <a:sym typeface="Univers LT Std 65 Bold"/>
                  </a:rPr>
                  <a:t>EURO VI</a:t>
                </a:r>
              </a:p>
            </p:txBody>
          </p:sp>
          <p:grpSp>
            <p:nvGrpSpPr>
              <p:cNvPr id="410" name="Group 410"/>
              <p:cNvGrpSpPr/>
              <p:nvPr/>
            </p:nvGrpSpPr>
            <p:grpSpPr>
              <a:xfrm>
                <a:off x="0" y="7680"/>
                <a:ext cx="188981" cy="1200030"/>
                <a:chOff x="0" y="0"/>
                <a:chExt cx="188980" cy="1200029"/>
              </a:xfrm>
            </p:grpSpPr>
            <p:sp>
              <p:nvSpPr>
                <p:cNvPr id="408" name="Shape 408"/>
                <p:cNvSpPr/>
                <p:nvPr/>
              </p:nvSpPr>
              <p:spPr>
                <a:xfrm flipV="1">
                  <a:off x="1777" y="21166"/>
                  <a:ext cx="1" cy="1178864"/>
                </a:xfrm>
                <a:prstGeom prst="line">
                  <a:avLst/>
                </a:prstGeom>
                <a:noFill/>
                <a:ln w="12700" cap="flat">
                  <a:solidFill>
                    <a:srgbClr val="55BE5A">
                      <a:alpha val="71295"/>
                    </a:srgbClr>
                  </a:solidFill>
                  <a:prstDash val="solid"/>
                  <a:miter lim="400000"/>
                </a:ln>
                <a:effectLst/>
              </p:spPr>
              <p:txBody>
                <a:bodyPr wrap="square" lIns="35719" tIns="35719" rIns="35719" bIns="35719" numCol="1" anchor="ctr">
                  <a:noAutofit/>
                </a:bodyPr>
                <a:lstStyle/>
                <a:p>
                  <a:pPr algn="ctr" defTabSz="410765" hangingPunct="0">
                    <a:defRPr sz="2200"/>
                  </a:pPr>
                  <a:endParaRPr sz="1650" kern="0">
                    <a:solidFill>
                      <a:srgbClr val="000000"/>
                    </a:solidFill>
                    <a:latin typeface="Helvetica Light"/>
                    <a:sym typeface="Helvetica Light"/>
                  </a:endParaRPr>
                </a:p>
              </p:txBody>
            </p:sp>
            <p:pic>
              <p:nvPicPr>
                <p:cNvPr id="409" name="pasted-image.pdf"/>
                <p:cNvPicPr>
                  <a:picLocks noChangeAspect="1"/>
                </p:cNvPicPr>
                <p:nvPr/>
              </p:nvPicPr>
              <p:blipFill>
                <a:blip r:embed="rId9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>
                <a:xfrm>
                  <a:off x="0" y="0"/>
                  <a:ext cx="188981" cy="205994"/>
                </a:xfrm>
                <a:prstGeom prst="rect">
                  <a:avLst/>
                </a:prstGeom>
                <a:ln w="3175" cap="flat">
                  <a:noFill/>
                  <a:miter lim="400000"/>
                </a:ln>
                <a:effectLst/>
              </p:spPr>
            </p:pic>
          </p:grpSp>
        </p:grpSp>
        <p:grpSp>
          <p:nvGrpSpPr>
            <p:cNvPr id="416" name="Group 416"/>
            <p:cNvGrpSpPr/>
            <p:nvPr/>
          </p:nvGrpSpPr>
          <p:grpSpPr>
            <a:xfrm>
              <a:off x="5845948" y="5073824"/>
              <a:ext cx="2418524" cy="1273836"/>
              <a:chOff x="0" y="-73805"/>
              <a:chExt cx="2418522" cy="1273835"/>
            </a:xfrm>
          </p:grpSpPr>
          <p:sp>
            <p:nvSpPr>
              <p:cNvPr id="412" name="Shape 412"/>
              <p:cNvSpPr/>
              <p:nvPr/>
            </p:nvSpPr>
            <p:spPr>
              <a:xfrm>
                <a:off x="170723" y="-73805"/>
                <a:ext cx="2247799" cy="1265731"/>
              </a:xfrm>
              <a:prstGeom prst="rect">
                <a:avLst/>
              </a:prstGeom>
              <a:noFill/>
              <a:ln w="3175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35719" tIns="35719" rIns="35719" bIns="35719" numCol="1" anchor="ctr">
                <a:spAutoFit/>
              </a:bodyPr>
              <a:lstStyle/>
              <a:p>
                <a:pPr defTabSz="412750" hangingPunct="0">
                  <a:defRPr sz="1900">
                    <a:solidFill>
                      <a:srgbClr val="364049"/>
                    </a:solidFill>
                    <a:latin typeface="Univers LT Std 45 Light"/>
                    <a:ea typeface="Univers LT Std 45 Light"/>
                    <a:cs typeface="Univers LT Std 45 Light"/>
                    <a:sym typeface="Univers LT Std 45 Light"/>
                  </a:defRPr>
                </a:pPr>
                <a:r>
                  <a:rPr sz="1425" kern="0" dirty="0">
                    <a:solidFill>
                      <a:srgbClr val="364049"/>
                    </a:solidFill>
                    <a:latin typeface="Univers LT Std 65 Bold"/>
                    <a:ea typeface="Univers LT Std 65 Bold"/>
                    <a:cs typeface="Univers LT Std 65 Bold"/>
                    <a:sym typeface="Univers LT Std 65 Bold"/>
                  </a:rPr>
                  <a:t>Reducción</a:t>
                </a:r>
                <a:r>
                  <a:rPr sz="1425" kern="0" dirty="0">
                    <a:solidFill>
                      <a:srgbClr val="364049"/>
                    </a:solidFill>
                    <a:latin typeface="Univers LT Std 45 Light"/>
                    <a:sym typeface="Univers LT Std 45 Light"/>
                  </a:rPr>
                  <a:t> emisiones sonoras y vibraciones </a:t>
                </a:r>
                <a:r>
                  <a:rPr sz="1425" kern="0" dirty="0">
                    <a:solidFill>
                      <a:srgbClr val="364049"/>
                    </a:solidFill>
                    <a:latin typeface="Univers LT Std 65 Bold"/>
                    <a:ea typeface="Univers LT Std 65 Bold"/>
                    <a:cs typeface="Univers LT Std 65 Bold"/>
                    <a:sym typeface="Univers LT Std 65 Bold"/>
                  </a:rPr>
                  <a:t>(50%-70%)</a:t>
                </a:r>
              </a:p>
            </p:txBody>
          </p:sp>
          <p:grpSp>
            <p:nvGrpSpPr>
              <p:cNvPr id="415" name="Group 415"/>
              <p:cNvGrpSpPr/>
              <p:nvPr/>
            </p:nvGrpSpPr>
            <p:grpSpPr>
              <a:xfrm>
                <a:off x="0" y="0"/>
                <a:ext cx="188981" cy="1200030"/>
                <a:chOff x="0" y="0"/>
                <a:chExt cx="188980" cy="1200029"/>
              </a:xfrm>
            </p:grpSpPr>
            <p:sp>
              <p:nvSpPr>
                <p:cNvPr id="413" name="Shape 413"/>
                <p:cNvSpPr/>
                <p:nvPr/>
              </p:nvSpPr>
              <p:spPr>
                <a:xfrm flipV="1">
                  <a:off x="1777" y="21166"/>
                  <a:ext cx="1" cy="1178864"/>
                </a:xfrm>
                <a:prstGeom prst="line">
                  <a:avLst/>
                </a:prstGeom>
                <a:noFill/>
                <a:ln w="12700" cap="flat">
                  <a:solidFill>
                    <a:srgbClr val="55BE5A">
                      <a:alpha val="71295"/>
                    </a:srgbClr>
                  </a:solidFill>
                  <a:prstDash val="solid"/>
                  <a:miter lim="400000"/>
                </a:ln>
                <a:effectLst/>
              </p:spPr>
              <p:txBody>
                <a:bodyPr wrap="square" lIns="35719" tIns="35719" rIns="35719" bIns="35719" numCol="1" anchor="ctr">
                  <a:noAutofit/>
                </a:bodyPr>
                <a:lstStyle/>
                <a:p>
                  <a:pPr algn="ctr" defTabSz="410765" hangingPunct="0">
                    <a:defRPr sz="2200"/>
                  </a:pPr>
                  <a:endParaRPr sz="1650" kern="0">
                    <a:solidFill>
                      <a:srgbClr val="000000"/>
                    </a:solidFill>
                    <a:latin typeface="Helvetica Light"/>
                    <a:sym typeface="Helvetica Light"/>
                  </a:endParaRPr>
                </a:p>
              </p:txBody>
            </p:sp>
            <p:pic>
              <p:nvPicPr>
                <p:cNvPr id="414" name="pasted-image.pdf"/>
                <p:cNvPicPr>
                  <a:picLocks noChangeAspect="1"/>
                </p:cNvPicPr>
                <p:nvPr/>
              </p:nvPicPr>
              <p:blipFill>
                <a:blip r:embed="rId9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>
                <a:xfrm>
                  <a:off x="0" y="0"/>
                  <a:ext cx="188981" cy="205994"/>
                </a:xfrm>
                <a:prstGeom prst="rect">
                  <a:avLst/>
                </a:prstGeom>
                <a:ln w="3175" cap="flat">
                  <a:noFill/>
                  <a:miter lim="400000"/>
                </a:ln>
                <a:effectLst/>
              </p:spPr>
            </p:pic>
          </p:grpSp>
        </p:grpSp>
        <p:grpSp>
          <p:nvGrpSpPr>
            <p:cNvPr id="421" name="Group 421"/>
            <p:cNvGrpSpPr/>
            <p:nvPr/>
          </p:nvGrpSpPr>
          <p:grpSpPr>
            <a:xfrm>
              <a:off x="8519191" y="5063835"/>
              <a:ext cx="2662957" cy="1558121"/>
              <a:chOff x="0" y="-76113"/>
              <a:chExt cx="2662956" cy="1558119"/>
            </a:xfrm>
          </p:grpSpPr>
          <p:sp>
            <p:nvSpPr>
              <p:cNvPr id="417" name="Shape 417"/>
              <p:cNvSpPr/>
              <p:nvPr/>
            </p:nvSpPr>
            <p:spPr>
              <a:xfrm>
                <a:off x="179011" y="-76113"/>
                <a:ext cx="2483945" cy="1558119"/>
              </a:xfrm>
              <a:prstGeom prst="rect">
                <a:avLst/>
              </a:prstGeom>
              <a:noFill/>
              <a:ln w="3175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35719" tIns="35719" rIns="35719" bIns="35719" numCol="1" anchor="ctr">
                <a:spAutoFit/>
              </a:bodyPr>
              <a:lstStyle/>
              <a:p>
                <a:pPr defTabSz="412750" hangingPunct="0">
                  <a:defRPr sz="1900">
                    <a:solidFill>
                      <a:srgbClr val="364049"/>
                    </a:solidFill>
                    <a:latin typeface="Univers LT Std 45 Light"/>
                    <a:ea typeface="Univers LT Std 45 Light"/>
                    <a:cs typeface="Univers LT Std 45 Light"/>
                    <a:sym typeface="Univers LT Std 45 Light"/>
                  </a:defRPr>
                </a:pPr>
                <a:r>
                  <a:rPr sz="1425" kern="0" dirty="0">
                    <a:solidFill>
                      <a:srgbClr val="364049"/>
                    </a:solidFill>
                    <a:latin typeface="Univers LT Std 45 Light"/>
                    <a:sym typeface="Univers LT Std 45 Light"/>
                  </a:rPr>
                  <a:t>Clasificados por la DGT como </a:t>
                </a:r>
                <a:r>
                  <a:rPr sz="1425" kern="0" dirty="0">
                    <a:solidFill>
                      <a:srgbClr val="364049"/>
                    </a:solidFill>
                    <a:latin typeface="Univers LT Std 65 Bold"/>
                    <a:ea typeface="Univers LT Std 65 Bold"/>
                    <a:cs typeface="Univers LT Std 65 Bold"/>
                    <a:sym typeface="Univers LT Std 65 Bold"/>
                  </a:rPr>
                  <a:t>vehículos respetuosos con el medioambiente,</a:t>
                </a:r>
                <a:r>
                  <a:rPr sz="1425" kern="0" dirty="0">
                    <a:solidFill>
                      <a:srgbClr val="364049"/>
                    </a:solidFill>
                    <a:latin typeface="Univers LT Std 45 Light"/>
                    <a:sym typeface="Univers LT Std 45 Light"/>
                  </a:rPr>
                  <a:t> con etiqueta ECO.</a:t>
                </a:r>
              </a:p>
            </p:txBody>
          </p:sp>
          <p:grpSp>
            <p:nvGrpSpPr>
              <p:cNvPr id="420" name="Group 420"/>
              <p:cNvGrpSpPr/>
              <p:nvPr/>
            </p:nvGrpSpPr>
            <p:grpSpPr>
              <a:xfrm>
                <a:off x="0" y="7680"/>
                <a:ext cx="188981" cy="1395356"/>
                <a:chOff x="0" y="0"/>
                <a:chExt cx="188980" cy="1395354"/>
              </a:xfrm>
            </p:grpSpPr>
            <p:sp>
              <p:nvSpPr>
                <p:cNvPr id="418" name="Shape 418"/>
                <p:cNvSpPr/>
                <p:nvPr/>
              </p:nvSpPr>
              <p:spPr>
                <a:xfrm flipV="1">
                  <a:off x="1777" y="21166"/>
                  <a:ext cx="1" cy="1374189"/>
                </a:xfrm>
                <a:prstGeom prst="line">
                  <a:avLst/>
                </a:prstGeom>
                <a:noFill/>
                <a:ln w="12700" cap="flat">
                  <a:solidFill>
                    <a:srgbClr val="55BE5A">
                      <a:alpha val="71295"/>
                    </a:srgbClr>
                  </a:solidFill>
                  <a:prstDash val="solid"/>
                  <a:miter lim="400000"/>
                </a:ln>
                <a:effectLst/>
              </p:spPr>
              <p:txBody>
                <a:bodyPr wrap="square" lIns="35719" tIns="35719" rIns="35719" bIns="35719" numCol="1" anchor="ctr">
                  <a:noAutofit/>
                </a:bodyPr>
                <a:lstStyle/>
                <a:p>
                  <a:pPr algn="ctr" defTabSz="410765" hangingPunct="0">
                    <a:defRPr sz="2200"/>
                  </a:pPr>
                  <a:endParaRPr sz="1650" kern="0">
                    <a:solidFill>
                      <a:srgbClr val="000000"/>
                    </a:solidFill>
                    <a:latin typeface="Helvetica Light"/>
                    <a:sym typeface="Helvetica Light"/>
                  </a:endParaRPr>
                </a:p>
              </p:txBody>
            </p:sp>
            <p:pic>
              <p:nvPicPr>
                <p:cNvPr id="419" name="pasted-image.pdf"/>
                <p:cNvPicPr>
                  <a:picLocks noChangeAspect="1"/>
                </p:cNvPicPr>
                <p:nvPr/>
              </p:nvPicPr>
              <p:blipFill>
                <a:blip r:embed="rId9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>
                <a:xfrm>
                  <a:off x="0" y="0"/>
                  <a:ext cx="188981" cy="205994"/>
                </a:xfrm>
                <a:prstGeom prst="rect">
                  <a:avLst/>
                </a:prstGeom>
                <a:ln w="3175" cap="flat">
                  <a:noFill/>
                  <a:miter lim="400000"/>
                </a:ln>
                <a:effectLst/>
              </p:spPr>
            </p:pic>
          </p:grpSp>
        </p:grpSp>
        <p:grpSp>
          <p:nvGrpSpPr>
            <p:cNvPr id="426" name="Group 426"/>
            <p:cNvGrpSpPr/>
            <p:nvPr/>
          </p:nvGrpSpPr>
          <p:grpSpPr>
            <a:xfrm>
              <a:off x="11894560" y="5051049"/>
              <a:ext cx="3485967" cy="1704738"/>
              <a:chOff x="0" y="-88900"/>
              <a:chExt cx="3485966" cy="1704737"/>
            </a:xfrm>
          </p:grpSpPr>
          <p:sp>
            <p:nvSpPr>
              <p:cNvPr id="422" name="Shape 422"/>
              <p:cNvSpPr/>
              <p:nvPr/>
            </p:nvSpPr>
            <p:spPr>
              <a:xfrm>
                <a:off x="178807" y="-88900"/>
                <a:ext cx="3307159" cy="1704737"/>
              </a:xfrm>
              <a:prstGeom prst="rect">
                <a:avLst/>
              </a:prstGeom>
              <a:noFill/>
              <a:ln w="3175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45719" tIns="45719" rIns="45719" bIns="45719" numCol="1" anchor="t">
                <a:spAutoFit/>
              </a:bodyPr>
              <a:lstStyle/>
              <a:p>
                <a:pPr defTabSz="412750" hangingPunct="0">
                  <a:spcBef>
                    <a:spcPts val="675"/>
                  </a:spcBef>
                  <a:defRPr sz="1900">
                    <a:solidFill>
                      <a:srgbClr val="364049"/>
                    </a:solidFill>
                    <a:latin typeface="Univers LT Std 45 Light"/>
                    <a:ea typeface="Univers LT Std 45 Light"/>
                    <a:cs typeface="Univers LT Std 45 Light"/>
                    <a:sym typeface="Univers LT Std 45 Light"/>
                  </a:defRPr>
                </a:pPr>
                <a:r>
                  <a:rPr sz="1425" kern="0" dirty="0">
                    <a:solidFill>
                      <a:srgbClr val="364049"/>
                    </a:solidFill>
                    <a:latin typeface="Univers LT Std 65 Bold"/>
                    <a:ea typeface="Univers LT Std 65 Bold"/>
                    <a:cs typeface="Univers LT Std 65 Bold"/>
                    <a:sym typeface="Univers LT Std 65 Bold"/>
                  </a:rPr>
                  <a:t>Seguridad:</a:t>
                </a:r>
                <a:r>
                  <a:rPr sz="1425" kern="0" dirty="0">
                    <a:solidFill>
                      <a:srgbClr val="364049"/>
                    </a:solidFill>
                    <a:latin typeface="Univers LT Std 45 Light"/>
                    <a:sym typeface="Univers LT Std 45 Light"/>
                  </a:rPr>
                  <a:t> al contrario </a:t>
                </a:r>
                <a:br>
                  <a:rPr sz="1425" kern="0" dirty="0">
                    <a:solidFill>
                      <a:srgbClr val="364049"/>
                    </a:solidFill>
                    <a:latin typeface="Univers LT Std 45 Light"/>
                    <a:sym typeface="Univers LT Std 45 Light"/>
                  </a:rPr>
                </a:br>
                <a:r>
                  <a:rPr sz="1425" kern="0" dirty="0">
                    <a:solidFill>
                      <a:srgbClr val="364049"/>
                    </a:solidFill>
                    <a:latin typeface="Univers LT Std 45 Light"/>
                    <a:sym typeface="Univers LT Std 45 Light"/>
                  </a:rPr>
                  <a:t>que el GLP, es mucho más ligero que el aire.</a:t>
                </a:r>
              </a:p>
              <a:p>
                <a:pPr defTabSz="412750" hangingPunct="0">
                  <a:spcBef>
                    <a:spcPts val="675"/>
                  </a:spcBef>
                  <a:defRPr sz="1900">
                    <a:solidFill>
                      <a:srgbClr val="364049"/>
                    </a:solidFill>
                    <a:latin typeface="Univers LT Std 45 Light"/>
                    <a:ea typeface="Univers LT Std 45 Light"/>
                    <a:cs typeface="Univers LT Std 45 Light"/>
                    <a:sym typeface="Univers LT Std 45 Light"/>
                  </a:defRPr>
                </a:pPr>
                <a:r>
                  <a:rPr sz="1425" kern="0" dirty="0">
                    <a:solidFill>
                      <a:srgbClr val="364049"/>
                    </a:solidFill>
                    <a:latin typeface="Univers LT Std 45 Light"/>
                    <a:sym typeface="Univers LT Std 45 Light"/>
                  </a:rPr>
                  <a:t>En caso de pérdida sube y se disipa en el aire rápidamente.</a:t>
                </a:r>
              </a:p>
            </p:txBody>
          </p:sp>
          <p:grpSp>
            <p:nvGrpSpPr>
              <p:cNvPr id="425" name="Group 425"/>
              <p:cNvGrpSpPr/>
              <p:nvPr/>
            </p:nvGrpSpPr>
            <p:grpSpPr>
              <a:xfrm>
                <a:off x="0" y="7680"/>
                <a:ext cx="188981" cy="1542530"/>
                <a:chOff x="0" y="0"/>
                <a:chExt cx="188980" cy="1542529"/>
              </a:xfrm>
            </p:grpSpPr>
            <p:sp>
              <p:nvSpPr>
                <p:cNvPr id="423" name="Shape 423"/>
                <p:cNvSpPr/>
                <p:nvPr/>
              </p:nvSpPr>
              <p:spPr>
                <a:xfrm flipV="1">
                  <a:off x="1777" y="21166"/>
                  <a:ext cx="1" cy="1521364"/>
                </a:xfrm>
                <a:prstGeom prst="line">
                  <a:avLst/>
                </a:prstGeom>
                <a:noFill/>
                <a:ln w="12700" cap="flat">
                  <a:solidFill>
                    <a:srgbClr val="55BE5A">
                      <a:alpha val="71295"/>
                    </a:srgbClr>
                  </a:solidFill>
                  <a:prstDash val="solid"/>
                  <a:miter lim="400000"/>
                </a:ln>
                <a:effectLst/>
              </p:spPr>
              <p:txBody>
                <a:bodyPr wrap="square" lIns="35719" tIns="35719" rIns="35719" bIns="35719" numCol="1" anchor="ctr">
                  <a:noAutofit/>
                </a:bodyPr>
                <a:lstStyle/>
                <a:p>
                  <a:pPr algn="ctr" defTabSz="410765" hangingPunct="0">
                    <a:defRPr sz="2200"/>
                  </a:pPr>
                  <a:endParaRPr sz="1650" kern="0">
                    <a:solidFill>
                      <a:srgbClr val="000000"/>
                    </a:solidFill>
                    <a:latin typeface="Helvetica Light"/>
                    <a:sym typeface="Helvetica Light"/>
                  </a:endParaRPr>
                </a:p>
              </p:txBody>
            </p:sp>
            <p:pic>
              <p:nvPicPr>
                <p:cNvPr id="424" name="pasted-image.pdf"/>
                <p:cNvPicPr>
                  <a:picLocks noChangeAspect="1"/>
                </p:cNvPicPr>
                <p:nvPr/>
              </p:nvPicPr>
              <p:blipFill>
                <a:blip r:embed="rId9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>
                <a:xfrm>
                  <a:off x="0" y="0"/>
                  <a:ext cx="188981" cy="205994"/>
                </a:xfrm>
                <a:prstGeom prst="rect">
                  <a:avLst/>
                </a:prstGeom>
                <a:ln w="3175" cap="flat">
                  <a:noFill/>
                  <a:miter lim="400000"/>
                </a:ln>
                <a:effectLst/>
              </p:spPr>
            </p:pic>
          </p:grpSp>
        </p:grpSp>
      </p:grpSp>
      <p:grpSp>
        <p:nvGrpSpPr>
          <p:cNvPr id="6" name="Agrupar 5"/>
          <p:cNvGrpSpPr/>
          <p:nvPr/>
        </p:nvGrpSpPr>
        <p:grpSpPr>
          <a:xfrm>
            <a:off x="16350" y="-3142"/>
            <a:ext cx="12192000" cy="3232547"/>
            <a:chOff x="0" y="-21729"/>
            <a:chExt cx="16256000" cy="4310063"/>
          </a:xfrm>
        </p:grpSpPr>
        <p:sp>
          <p:nvSpPr>
            <p:cNvPr id="367" name="Shape 367"/>
            <p:cNvSpPr/>
            <p:nvPr/>
          </p:nvSpPr>
          <p:spPr>
            <a:xfrm rot="10800000">
              <a:off x="0" y="1359081"/>
              <a:ext cx="16256000" cy="2929253"/>
            </a:xfrm>
            <a:prstGeom prst="rect">
              <a:avLst/>
            </a:prstGeom>
            <a:gradFill>
              <a:gsLst>
                <a:gs pos="0">
                  <a:srgbClr val="1A1818">
                    <a:alpha val="0"/>
                  </a:srgbClr>
                </a:gs>
                <a:gs pos="100000">
                  <a:srgbClr val="1A1818">
                    <a:alpha val="20025"/>
                  </a:srgbClr>
                </a:gs>
              </a:gsLst>
              <a:path>
                <a:fillToRect l="50000" t="42203" r="50000" b="57796"/>
              </a:path>
            </a:gradFill>
            <a:ln w="3175">
              <a:miter lim="400000"/>
            </a:ln>
          </p:spPr>
          <p:txBody>
            <a:bodyPr lIns="25399" tIns="25399" rIns="25399" bIns="25399" anchor="ctr"/>
            <a:lstStyle/>
            <a:p>
              <a:pPr algn="ctr" defTabSz="412749" hangingPunct="0">
                <a:defRPr sz="2400">
                  <a:solidFill>
                    <a:srgbClr val="FFFFFF"/>
                  </a:solidFill>
                </a:defRPr>
              </a:pPr>
              <a:endParaRPr kern="0">
                <a:solidFill>
                  <a:srgbClr val="FFFFFF"/>
                </a:solidFill>
                <a:latin typeface="Helvetica Light"/>
                <a:sym typeface="Helvetica Light"/>
              </a:endParaRPr>
            </a:p>
          </p:txBody>
        </p:sp>
        <p:pic>
          <p:nvPicPr>
            <p:cNvPr id="2" name="Imagen 1" descr="caca.png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-21729"/>
              <a:ext cx="16256000" cy="2933700"/>
            </a:xfrm>
            <a:prstGeom prst="rect">
              <a:avLst/>
            </a:prstGeom>
          </p:spPr>
        </p:pic>
      </p:grpSp>
      <p:sp>
        <p:nvSpPr>
          <p:cNvPr id="369" name="Shape 369"/>
          <p:cNvSpPr/>
          <p:nvPr/>
        </p:nvSpPr>
        <p:spPr>
          <a:xfrm>
            <a:off x="433526" y="699366"/>
            <a:ext cx="11101869" cy="628016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5400" tIns="25400" rIns="25400" bIns="25400" anchor="ctr">
            <a:noAutofit/>
          </a:bodyPr>
          <a:lstStyle/>
          <a:p>
            <a:pPr defTabSz="412750" hangingPunct="0">
              <a:lnSpc>
                <a:spcPct val="90000"/>
              </a:lnSpc>
              <a:defRPr sz="5100">
                <a:solidFill>
                  <a:srgbClr val="FFFFFF"/>
                </a:solidFill>
                <a:latin typeface="Univers LT Std 45 Light"/>
                <a:ea typeface="Univers LT Std 45 Light"/>
                <a:cs typeface="Univers LT Std 45 Light"/>
                <a:sym typeface="Univers LT Std 45 Light"/>
              </a:defRPr>
            </a:pPr>
            <a:r>
              <a:rPr lang="es-ES" sz="3800" kern="0" dirty="0">
                <a:solidFill>
                  <a:srgbClr val="FFFFFF"/>
                </a:solidFill>
                <a:latin typeface="Univers LT Std 45 Light"/>
                <a:sym typeface="Univers LT Std 45 Light"/>
              </a:rPr>
              <a:t>BENEFICIOS :</a:t>
            </a:r>
            <a:r>
              <a:rPr sz="3800" kern="0" dirty="0" err="1">
                <a:solidFill>
                  <a:srgbClr val="FFFFFF"/>
                </a:solidFill>
                <a:latin typeface="Univers LT Std 45 Light"/>
                <a:sym typeface="Univers LT Std 45 Light"/>
              </a:rPr>
              <a:t>Bajas</a:t>
            </a:r>
            <a:r>
              <a:rPr sz="3800" kern="0" dirty="0">
                <a:solidFill>
                  <a:srgbClr val="FFFFFF"/>
                </a:solidFill>
                <a:latin typeface="Univers LT Std 45 Light"/>
                <a:sym typeface="Univers LT Std 45 Light"/>
              </a:rPr>
              <a:t> emisiones, </a:t>
            </a:r>
            <a:r>
              <a:rPr sz="3800" b="1" kern="0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medio ambiente, seguridad</a:t>
            </a:r>
          </a:p>
        </p:txBody>
      </p:sp>
      <p:sp>
        <p:nvSpPr>
          <p:cNvPr id="432" name="Shape 432"/>
          <p:cNvSpPr/>
          <p:nvPr/>
        </p:nvSpPr>
        <p:spPr>
          <a:xfrm>
            <a:off x="-14198" y="-1"/>
            <a:ext cx="56557" cy="1130301"/>
          </a:xfrm>
          <a:prstGeom prst="rect">
            <a:avLst/>
          </a:prstGeom>
          <a:solidFill>
            <a:srgbClr val="0554FA"/>
          </a:solidFill>
          <a:ln w="3175">
            <a:miter lim="400000"/>
          </a:ln>
        </p:spPr>
        <p:txBody>
          <a:bodyPr lIns="25399" tIns="25399" rIns="25399" bIns="25399" anchor="ctr"/>
          <a:lstStyle/>
          <a:p>
            <a:pPr algn="ctr" defTabSz="412749" hangingPunct="0">
              <a:defRPr sz="2400"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pic>
        <p:nvPicPr>
          <p:cNvPr id="72" name="Imagen 71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626" y="5254228"/>
            <a:ext cx="1366498" cy="1291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8206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2" name="shutterstock_161947376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-459"/>
            <a:ext cx="12195534" cy="3186305"/>
          </a:xfrm>
          <a:prstGeom prst="rect">
            <a:avLst/>
          </a:prstGeom>
          <a:ln w="3175">
            <a:miter lim="400000"/>
          </a:ln>
        </p:spPr>
      </p:pic>
      <p:grpSp>
        <p:nvGrpSpPr>
          <p:cNvPr id="355" name="Group 355"/>
          <p:cNvGrpSpPr/>
          <p:nvPr/>
        </p:nvGrpSpPr>
        <p:grpSpPr>
          <a:xfrm>
            <a:off x="2550695" y="3338351"/>
            <a:ext cx="7088822" cy="3341825"/>
            <a:chOff x="-127001" y="-319717"/>
            <a:chExt cx="8992963" cy="4185900"/>
          </a:xfrm>
        </p:grpSpPr>
        <p:sp>
          <p:nvSpPr>
            <p:cNvPr id="328" name="Shape 328"/>
            <p:cNvSpPr/>
            <p:nvPr/>
          </p:nvSpPr>
          <p:spPr>
            <a:xfrm>
              <a:off x="317528" y="0"/>
              <a:ext cx="3304651" cy="633295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35719" tIns="35719" rIns="35719" bIns="35719" numCol="1" anchor="t">
              <a:noAutofit/>
            </a:bodyPr>
            <a:lstStyle>
              <a:lvl1pPr algn="l" defTabSz="550332">
                <a:lnSpc>
                  <a:spcPct val="81000"/>
                </a:lnSpc>
                <a:defRPr sz="2300">
                  <a:solidFill>
                    <a:srgbClr val="8C8C8C"/>
                  </a:solidFill>
                  <a:latin typeface="Univers LT Std 65 Bold"/>
                  <a:ea typeface="Univers LT Std 65 Bold"/>
                  <a:cs typeface="Univers LT Std 65 Bold"/>
                  <a:sym typeface="Univers LT Std 65 Bold"/>
                </a:defRPr>
              </a:lvl1pPr>
            </a:lstStyle>
            <a:p>
              <a:pPr defTabSz="412749" hangingPunct="0"/>
              <a:r>
                <a:rPr sz="1725" kern="0"/>
                <a:t>Coste Combustible</a:t>
              </a:r>
            </a:p>
          </p:txBody>
        </p:sp>
        <p:grpSp>
          <p:nvGrpSpPr>
            <p:cNvPr id="345" name="Group 345"/>
            <p:cNvGrpSpPr/>
            <p:nvPr/>
          </p:nvGrpSpPr>
          <p:grpSpPr>
            <a:xfrm>
              <a:off x="-127001" y="-319717"/>
              <a:ext cx="8992963" cy="4185900"/>
              <a:chOff x="-127000" y="-983694"/>
              <a:chExt cx="8992962" cy="4185898"/>
            </a:xfrm>
          </p:grpSpPr>
          <p:graphicFrame>
            <p:nvGraphicFramePr>
              <p:cNvPr id="329" name="Chart 329"/>
              <p:cNvGraphicFramePr/>
              <p:nvPr>
                <p:extLst>
                  <p:ext uri="{D42A27DB-BD31-4B8C-83A1-F6EECF244321}">
                    <p14:modId xmlns:p14="http://schemas.microsoft.com/office/powerpoint/2010/main" val="2800401295"/>
                  </p:ext>
                </p:extLst>
              </p:nvPr>
            </p:nvGraphicFramePr>
            <p:xfrm>
              <a:off x="-127000" y="-983694"/>
              <a:ext cx="5947635" cy="4185898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  <p:sp>
            <p:nvSpPr>
              <p:cNvPr id="330" name="Shape 330"/>
              <p:cNvSpPr/>
              <p:nvPr/>
            </p:nvSpPr>
            <p:spPr>
              <a:xfrm>
                <a:off x="0" y="2822860"/>
                <a:ext cx="5820635" cy="1"/>
              </a:xfrm>
              <a:prstGeom prst="line">
                <a:avLst/>
              </a:prstGeom>
              <a:noFill/>
              <a:ln w="12700" cap="flat">
                <a:solidFill>
                  <a:srgbClr val="41BAE6"/>
                </a:solidFill>
                <a:prstDash val="solid"/>
                <a:miter lim="400000"/>
              </a:ln>
              <a:effectLst/>
            </p:spPr>
            <p:txBody>
              <a:bodyPr wrap="square" lIns="35719" tIns="35719" rIns="35719" bIns="35719" numCol="1" anchor="ctr">
                <a:noAutofit/>
              </a:bodyPr>
              <a:lstStyle/>
              <a:p>
                <a:pPr algn="ctr" defTabSz="410765" hangingPunct="0">
                  <a:defRPr sz="2200"/>
                </a:pPr>
                <a:endParaRPr sz="1650" kern="0">
                  <a:solidFill>
                    <a:srgbClr val="00000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343" name="Shape 343"/>
              <p:cNvSpPr/>
              <p:nvPr/>
            </p:nvSpPr>
            <p:spPr>
              <a:xfrm>
                <a:off x="6215343" y="1456973"/>
                <a:ext cx="2524216" cy="1367892"/>
              </a:xfrm>
              <a:prstGeom prst="rect">
                <a:avLst/>
              </a:prstGeom>
              <a:noFill/>
              <a:ln w="3175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45719" tIns="45719" rIns="45719" bIns="45719" numCol="1" anchor="t">
                <a:spAutoFit/>
              </a:bodyPr>
              <a:lstStyle/>
              <a:p>
                <a:pPr marL="114300" indent="-114300" defTabSz="412749" hangingPunct="0">
                  <a:lnSpc>
                    <a:spcPct val="120000"/>
                  </a:lnSpc>
                  <a:spcAft>
                    <a:spcPts val="750"/>
                  </a:spcAft>
                  <a:buClr>
                    <a:srgbClr val="41BAE6"/>
                  </a:buClr>
                  <a:buSzPct val="100000"/>
                  <a:buFontTx/>
                  <a:buChar char="‣"/>
                  <a:defRPr sz="1200">
                    <a:solidFill>
                      <a:srgbClr val="717473"/>
                    </a:solidFill>
                    <a:latin typeface="Univers LT Std 45 Light"/>
                    <a:ea typeface="Univers LT Std 45 Light"/>
                    <a:cs typeface="Univers LT Std 45 Light"/>
                    <a:sym typeface="Univers LT Std 45 Light"/>
                  </a:defRPr>
                </a:pPr>
                <a:r>
                  <a:rPr sz="900" kern="0" dirty="0">
                    <a:solidFill>
                      <a:srgbClr val="717473"/>
                    </a:solidFill>
                    <a:latin typeface="Univers LT Std 65 Bold"/>
                    <a:ea typeface="Univers LT Std 65 Bold"/>
                    <a:cs typeface="Univers LT Std 65 Bold"/>
                    <a:sym typeface="Univers LT Std 65 Bold"/>
                  </a:rPr>
                  <a:t>IEH: </a:t>
                </a:r>
                <a:r>
                  <a:rPr sz="900" kern="0" dirty="0">
                    <a:solidFill>
                      <a:srgbClr val="717473"/>
                    </a:solidFill>
                    <a:latin typeface="Univers LT Std 45 Light"/>
                    <a:sym typeface="Univers LT Std 45 Light"/>
                  </a:rPr>
                  <a:t>Impuesto especial de hidrocarburos, 4,14 €/MWh Ley 22/2005, de 18 de noviembre</a:t>
                </a:r>
              </a:p>
              <a:p>
                <a:pPr marL="114300" indent="-114300" defTabSz="412749" hangingPunct="0">
                  <a:lnSpc>
                    <a:spcPct val="120000"/>
                  </a:lnSpc>
                  <a:buClr>
                    <a:srgbClr val="41BAE6"/>
                  </a:buClr>
                  <a:buSzPct val="100000"/>
                  <a:buFontTx/>
                  <a:buChar char="‣"/>
                  <a:defRPr sz="1200">
                    <a:solidFill>
                      <a:srgbClr val="717473"/>
                    </a:solidFill>
                    <a:latin typeface="Univers LT Std 45 Light"/>
                    <a:ea typeface="Univers LT Std 45 Light"/>
                    <a:cs typeface="Univers LT Std 45 Light"/>
                    <a:sym typeface="Univers LT Std 45 Light"/>
                  </a:defRPr>
                </a:pPr>
                <a:r>
                  <a:rPr sz="900" kern="0" dirty="0">
                    <a:solidFill>
                      <a:srgbClr val="717473"/>
                    </a:solidFill>
                    <a:latin typeface="Univers LT Std 65 Bold"/>
                    <a:ea typeface="Univers LT Std 65 Bold"/>
                    <a:cs typeface="Univers LT Std 65 Bold"/>
                    <a:sym typeface="Univers LT Std 65 Bold"/>
                  </a:rPr>
                  <a:t>CMP y LOG:</a:t>
                </a:r>
                <a:r>
                  <a:rPr sz="900" kern="0" dirty="0">
                    <a:solidFill>
                      <a:srgbClr val="717473"/>
                    </a:solidFill>
                    <a:latin typeface="Univers LT Std 45 Light"/>
                    <a:sym typeface="Univers LT Std 45 Light"/>
                  </a:rPr>
                  <a:t> coste de la materia prima y logística</a:t>
                </a:r>
              </a:p>
            </p:txBody>
          </p:sp>
          <p:sp>
            <p:nvSpPr>
              <p:cNvPr id="344" name="Shape 344"/>
              <p:cNvSpPr/>
              <p:nvPr/>
            </p:nvSpPr>
            <p:spPr>
              <a:xfrm>
                <a:off x="6088941" y="1332894"/>
                <a:ext cx="2777021" cy="1555229"/>
              </a:xfrm>
              <a:prstGeom prst="rect">
                <a:avLst/>
              </a:prstGeom>
              <a:noFill/>
              <a:ln w="9525" cap="flat">
                <a:solidFill>
                  <a:srgbClr val="41BAE5"/>
                </a:solidFill>
                <a:custDash>
                  <a:ds d="100000" sp="200000"/>
                </a:custDash>
                <a:round/>
              </a:ln>
              <a:effectLst/>
            </p:spPr>
            <p:txBody>
              <a:bodyPr wrap="square" lIns="25399" tIns="25399" rIns="25399" bIns="25399" numCol="1" anchor="ctr">
                <a:noAutofit/>
              </a:bodyPr>
              <a:lstStyle/>
              <a:p>
                <a:pPr algn="ctr" defTabSz="412749" hangingPunct="0">
                  <a:defRPr sz="2400">
                    <a:solidFill>
                      <a:srgbClr val="FFFFFF"/>
                    </a:solidFill>
                  </a:defRPr>
                </a:pPr>
                <a:endParaRPr kern="0">
                  <a:solidFill>
                    <a:srgbClr val="FFFFFF"/>
                  </a:solidFill>
                  <a:latin typeface="Helvetica Light"/>
                  <a:sym typeface="Helvetica Light"/>
                </a:endParaRPr>
              </a:p>
            </p:txBody>
          </p:sp>
        </p:grpSp>
        <p:grpSp>
          <p:nvGrpSpPr>
            <p:cNvPr id="354" name="Group 354"/>
            <p:cNvGrpSpPr/>
            <p:nvPr/>
          </p:nvGrpSpPr>
          <p:grpSpPr>
            <a:xfrm>
              <a:off x="6072816" y="976693"/>
              <a:ext cx="1260300" cy="898783"/>
              <a:chOff x="0" y="0"/>
              <a:chExt cx="1260299" cy="898782"/>
            </a:xfrm>
          </p:grpSpPr>
          <p:sp>
            <p:nvSpPr>
              <p:cNvPr id="346" name="Shape 346"/>
              <p:cNvSpPr/>
              <p:nvPr/>
            </p:nvSpPr>
            <p:spPr>
              <a:xfrm>
                <a:off x="226315" y="330435"/>
                <a:ext cx="346409" cy="237913"/>
              </a:xfrm>
              <a:prstGeom prst="rect">
                <a:avLst/>
              </a:prstGeom>
              <a:noFill/>
              <a:ln w="3175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none" lIns="25399" tIns="25399" rIns="25399" bIns="25399" numCol="1" anchor="ctr">
                <a:normAutofit/>
              </a:bodyPr>
              <a:lstStyle>
                <a:lvl1pPr algn="l" defTabSz="609600">
                  <a:lnSpc>
                    <a:spcPct val="80000"/>
                  </a:lnSpc>
                  <a:defRPr sz="1300">
                    <a:solidFill>
                      <a:srgbClr val="595959"/>
                    </a:solidFill>
                    <a:latin typeface="Univers LT Std 45 Light"/>
                    <a:ea typeface="Univers LT Std 45 Light"/>
                    <a:cs typeface="Univers LT Std 45 Light"/>
                    <a:sym typeface="Univers LT Std 45 Light"/>
                  </a:defRPr>
                </a:lvl1pPr>
              </a:lstStyle>
              <a:p>
                <a:pPr defTabSz="457200" hangingPunct="0"/>
                <a:r>
                  <a:rPr sz="975" kern="0"/>
                  <a:t>IEH</a:t>
                </a:r>
              </a:p>
            </p:txBody>
          </p:sp>
          <p:sp>
            <p:nvSpPr>
              <p:cNvPr id="347" name="Shape 347"/>
              <p:cNvSpPr/>
              <p:nvPr/>
            </p:nvSpPr>
            <p:spPr>
              <a:xfrm>
                <a:off x="2827" y="336488"/>
                <a:ext cx="167595" cy="167596"/>
              </a:xfrm>
              <a:prstGeom prst="rect">
                <a:avLst/>
              </a:prstGeom>
              <a:solidFill>
                <a:srgbClr val="00B0F0"/>
              </a:solidFill>
              <a:ln w="3175" cap="flat">
                <a:noFill/>
                <a:miter lim="400000"/>
              </a:ln>
              <a:effectLst/>
            </p:spPr>
            <p:txBody>
              <a:bodyPr wrap="square" lIns="25399" tIns="25399" rIns="25399" bIns="25399" numCol="1" anchor="ctr">
                <a:noAutofit/>
              </a:bodyPr>
              <a:lstStyle/>
              <a:p>
                <a:pPr algn="ctr" defTabSz="412749" hangingPunct="0">
                  <a:defRPr sz="2400">
                    <a:solidFill>
                      <a:srgbClr val="FFFFFF"/>
                    </a:solidFill>
                  </a:defRPr>
                </a:pPr>
                <a:endParaRPr kern="0">
                  <a:solidFill>
                    <a:srgbClr val="FFFFFF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348" name="Shape 348"/>
              <p:cNvSpPr/>
              <p:nvPr/>
            </p:nvSpPr>
            <p:spPr>
              <a:xfrm>
                <a:off x="226315" y="-1"/>
                <a:ext cx="328248" cy="237913"/>
              </a:xfrm>
              <a:prstGeom prst="rect">
                <a:avLst/>
              </a:prstGeom>
              <a:noFill/>
              <a:ln w="3175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none" lIns="25399" tIns="25399" rIns="25399" bIns="25399" numCol="1" anchor="ctr">
                <a:normAutofit/>
              </a:bodyPr>
              <a:lstStyle>
                <a:lvl1pPr algn="l" defTabSz="609600">
                  <a:lnSpc>
                    <a:spcPct val="80000"/>
                  </a:lnSpc>
                  <a:defRPr sz="1300">
                    <a:solidFill>
                      <a:srgbClr val="595959"/>
                    </a:solidFill>
                    <a:latin typeface="Univers LT Std 45 Light"/>
                    <a:ea typeface="Univers LT Std 45 Light"/>
                    <a:cs typeface="Univers LT Std 45 Light"/>
                    <a:sym typeface="Univers LT Std 45 Light"/>
                  </a:defRPr>
                </a:lvl1pPr>
              </a:lstStyle>
              <a:p>
                <a:pPr defTabSz="457200" hangingPunct="0"/>
                <a:r>
                  <a:rPr sz="975" kern="0"/>
                  <a:t>IVA</a:t>
                </a:r>
              </a:p>
            </p:txBody>
          </p:sp>
          <p:sp>
            <p:nvSpPr>
              <p:cNvPr id="349" name="Shape 349"/>
              <p:cNvSpPr/>
              <p:nvPr/>
            </p:nvSpPr>
            <p:spPr>
              <a:xfrm>
                <a:off x="2827" y="15046"/>
                <a:ext cx="167595" cy="167596"/>
              </a:xfrm>
              <a:prstGeom prst="rect">
                <a:avLst/>
              </a:prstGeom>
              <a:solidFill>
                <a:srgbClr val="92D050"/>
              </a:solidFill>
              <a:ln w="3175" cap="flat">
                <a:noFill/>
                <a:miter lim="400000"/>
              </a:ln>
              <a:effectLst/>
            </p:spPr>
            <p:txBody>
              <a:bodyPr wrap="square" lIns="25399" tIns="25399" rIns="25399" bIns="25399" numCol="1" anchor="ctr">
                <a:noAutofit/>
              </a:bodyPr>
              <a:lstStyle/>
              <a:p>
                <a:pPr algn="ctr" defTabSz="412749" hangingPunct="0">
                  <a:defRPr sz="2400">
                    <a:solidFill>
                      <a:srgbClr val="FFFFFF"/>
                    </a:solidFill>
                  </a:defRPr>
                </a:pPr>
                <a:endParaRPr kern="0">
                  <a:solidFill>
                    <a:srgbClr val="FFFFFF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350" name="Shape 350"/>
              <p:cNvSpPr/>
              <p:nvPr/>
            </p:nvSpPr>
            <p:spPr>
              <a:xfrm>
                <a:off x="226315" y="660870"/>
                <a:ext cx="957775" cy="237913"/>
              </a:xfrm>
              <a:prstGeom prst="rect">
                <a:avLst/>
              </a:prstGeom>
              <a:noFill/>
              <a:ln w="3175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none" lIns="25399" tIns="25399" rIns="25399" bIns="25399" numCol="1" anchor="ctr">
                <a:normAutofit/>
              </a:bodyPr>
              <a:lstStyle>
                <a:lvl1pPr algn="l" defTabSz="609600">
                  <a:lnSpc>
                    <a:spcPct val="80000"/>
                  </a:lnSpc>
                  <a:defRPr sz="1300">
                    <a:solidFill>
                      <a:srgbClr val="595959"/>
                    </a:solidFill>
                    <a:latin typeface="Univers LT Std 45 Light"/>
                    <a:ea typeface="Univers LT Std 45 Light"/>
                    <a:cs typeface="Univers LT Std 45 Light"/>
                    <a:sym typeface="Univers LT Std 45 Light"/>
                  </a:defRPr>
                </a:lvl1pPr>
              </a:lstStyle>
              <a:p>
                <a:pPr defTabSz="457200" hangingPunct="0"/>
                <a:r>
                  <a:rPr sz="975" kern="0"/>
                  <a:t>CMP y LOG</a:t>
                </a:r>
              </a:p>
            </p:txBody>
          </p:sp>
          <p:sp>
            <p:nvSpPr>
              <p:cNvPr id="351" name="Shape 351"/>
              <p:cNvSpPr/>
              <p:nvPr/>
            </p:nvSpPr>
            <p:spPr>
              <a:xfrm>
                <a:off x="2827" y="657929"/>
                <a:ext cx="167595" cy="167596"/>
              </a:xfrm>
              <a:prstGeom prst="rect">
                <a:avLst/>
              </a:prstGeom>
              <a:solidFill>
                <a:srgbClr val="1269F6"/>
              </a:solidFill>
              <a:ln w="3175" cap="flat">
                <a:noFill/>
                <a:miter lim="400000"/>
              </a:ln>
              <a:effectLst/>
            </p:spPr>
            <p:txBody>
              <a:bodyPr wrap="square" lIns="25399" tIns="25399" rIns="25399" bIns="25399" numCol="1" anchor="ctr">
                <a:noAutofit/>
              </a:bodyPr>
              <a:lstStyle/>
              <a:p>
                <a:pPr algn="ctr" defTabSz="412749" hangingPunct="0">
                  <a:defRPr sz="2400">
                    <a:solidFill>
                      <a:srgbClr val="FFFFFF"/>
                    </a:solidFill>
                  </a:defRPr>
                </a:pPr>
                <a:endParaRPr kern="0">
                  <a:solidFill>
                    <a:srgbClr val="FFFFFF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352" name="Shape 352"/>
              <p:cNvSpPr/>
              <p:nvPr/>
            </p:nvSpPr>
            <p:spPr>
              <a:xfrm>
                <a:off x="0" y="257368"/>
                <a:ext cx="1260300" cy="1"/>
              </a:xfrm>
              <a:prstGeom prst="line">
                <a:avLst/>
              </a:prstGeom>
              <a:noFill/>
              <a:ln w="9525" cap="flat">
                <a:solidFill>
                  <a:srgbClr val="DCDEE0"/>
                </a:solidFill>
                <a:prstDash val="solid"/>
                <a:miter lim="400000"/>
              </a:ln>
              <a:effectLst/>
            </p:spPr>
            <p:txBody>
              <a:bodyPr wrap="square" lIns="35719" tIns="35719" rIns="35719" bIns="35719" numCol="1" anchor="ctr">
                <a:noAutofit/>
              </a:bodyPr>
              <a:lstStyle/>
              <a:p>
                <a:pPr algn="ctr" defTabSz="410765" hangingPunct="0">
                  <a:defRPr sz="2200"/>
                </a:pPr>
                <a:endParaRPr sz="1650" kern="0">
                  <a:solidFill>
                    <a:srgbClr val="000000"/>
                  </a:solidFill>
                  <a:latin typeface="Helvetica Light"/>
                  <a:sym typeface="Helvetica Light"/>
                </a:endParaRPr>
              </a:p>
            </p:txBody>
          </p:sp>
          <p:sp>
            <p:nvSpPr>
              <p:cNvPr id="353" name="Shape 353"/>
              <p:cNvSpPr/>
              <p:nvPr/>
            </p:nvSpPr>
            <p:spPr>
              <a:xfrm>
                <a:off x="0" y="563584"/>
                <a:ext cx="1260300" cy="1"/>
              </a:xfrm>
              <a:prstGeom prst="line">
                <a:avLst/>
              </a:prstGeom>
              <a:noFill/>
              <a:ln w="9525" cap="flat">
                <a:solidFill>
                  <a:srgbClr val="DCDEE0"/>
                </a:solidFill>
                <a:prstDash val="solid"/>
                <a:miter lim="400000"/>
              </a:ln>
              <a:effectLst/>
            </p:spPr>
            <p:txBody>
              <a:bodyPr wrap="square" lIns="35719" tIns="35719" rIns="35719" bIns="35719" numCol="1" anchor="ctr">
                <a:noAutofit/>
              </a:bodyPr>
              <a:lstStyle/>
              <a:p>
                <a:pPr algn="ctr" defTabSz="410765" hangingPunct="0">
                  <a:defRPr sz="2200"/>
                </a:pPr>
                <a:endParaRPr sz="1650" kern="0">
                  <a:solidFill>
                    <a:srgbClr val="000000"/>
                  </a:solidFill>
                  <a:latin typeface="Helvetica Light"/>
                  <a:sym typeface="Helvetica Light"/>
                </a:endParaRPr>
              </a:p>
            </p:txBody>
          </p:sp>
        </p:grpSp>
      </p:grpSp>
      <p:sp>
        <p:nvSpPr>
          <p:cNvPr id="356" name="Shape 356"/>
          <p:cNvSpPr/>
          <p:nvPr/>
        </p:nvSpPr>
        <p:spPr>
          <a:xfrm>
            <a:off x="439641" y="707940"/>
            <a:ext cx="4910303" cy="534670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25399" tIns="25399" rIns="25399" bIns="25399" anchor="ctr">
            <a:normAutofit lnSpcReduction="10000"/>
          </a:bodyPr>
          <a:lstStyle>
            <a:lvl1pPr algn="l" defTabSz="550333">
              <a:lnSpc>
                <a:spcPct val="90000"/>
              </a:lnSpc>
              <a:defRPr sz="5100">
                <a:solidFill>
                  <a:srgbClr val="FFFFFF"/>
                </a:solidFill>
                <a:latin typeface="Univers LT Std 45 Light"/>
                <a:ea typeface="Univers LT Std 45 Light"/>
                <a:cs typeface="Univers LT Std 45 Light"/>
                <a:sym typeface="Univers LT Std 45 Light"/>
              </a:defRPr>
            </a:lvl1pPr>
          </a:lstStyle>
          <a:p>
            <a:pPr defTabSz="412750" hangingPunct="0"/>
            <a:r>
              <a:rPr lang="es-ES" sz="3825" kern="0" dirty="0"/>
              <a:t>BENEFICIOS: Realmente económico</a:t>
            </a:r>
          </a:p>
        </p:txBody>
      </p:sp>
      <p:grpSp>
        <p:nvGrpSpPr>
          <p:cNvPr id="2" name="Agrupar 1"/>
          <p:cNvGrpSpPr/>
          <p:nvPr/>
        </p:nvGrpSpPr>
        <p:grpSpPr>
          <a:xfrm>
            <a:off x="439641" y="1318902"/>
            <a:ext cx="11174406" cy="1690998"/>
            <a:chOff x="586188" y="1758536"/>
            <a:chExt cx="14899208" cy="2254664"/>
          </a:xfrm>
        </p:grpSpPr>
        <p:sp>
          <p:nvSpPr>
            <p:cNvPr id="284" name="Shape 284"/>
            <p:cNvSpPr/>
            <p:nvPr/>
          </p:nvSpPr>
          <p:spPr>
            <a:xfrm>
              <a:off x="586188" y="1885536"/>
              <a:ext cx="3016888" cy="1581564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lIns="25399" tIns="25399" rIns="25399" bIns="25399">
              <a:normAutofit lnSpcReduction="10000"/>
            </a:bodyPr>
            <a:lstStyle/>
            <a:p>
              <a:pPr marL="148166" lvl="1" indent="-148166" defTabSz="412749" hangingPunct="0">
                <a:lnSpc>
                  <a:spcPct val="110000"/>
                </a:lnSpc>
                <a:buClr>
                  <a:srgbClr val="70C564"/>
                </a:buClr>
                <a:buSzPct val="100000"/>
                <a:buFontTx/>
                <a:buChar char="‣"/>
                <a:defRPr sz="1800">
                  <a:solidFill>
                    <a:srgbClr val="FFFFFF"/>
                  </a:solidFill>
                  <a:latin typeface="Univers LT Std 45 Light"/>
                  <a:ea typeface="Univers LT Std 45 Light"/>
                  <a:cs typeface="Univers LT Std 45 Light"/>
                  <a:sym typeface="Univers LT Std 45 Light"/>
                </a:defRPr>
              </a:pPr>
              <a:r>
                <a:rPr sz="1500" kern="0" dirty="0">
                  <a:solidFill>
                    <a:srgbClr val="55BE5A"/>
                  </a:solidFill>
                  <a:latin typeface="Univers LT Std 65 Bold"/>
                  <a:ea typeface="Univers LT Std 65 Bold"/>
                  <a:cs typeface="Univers LT Std 65 Bold"/>
                  <a:sym typeface="Univers LT Std 65 Bold"/>
                </a:rPr>
                <a:t>Ahorro económico </a:t>
              </a:r>
              <a:r>
                <a:rPr sz="1350" kern="0" dirty="0">
                  <a:solidFill>
                    <a:srgbClr val="FFFFFF"/>
                  </a:solidFill>
                  <a:latin typeface="Univers LT Std 45 Light"/>
                  <a:sym typeface="Univers LT Std 45 Light"/>
                </a:rPr>
                <a:t/>
              </a:r>
              <a:br>
                <a:rPr sz="1350" kern="0" dirty="0">
                  <a:solidFill>
                    <a:srgbClr val="FFFFFF"/>
                  </a:solidFill>
                  <a:latin typeface="Univers LT Std 45 Light"/>
                  <a:sym typeface="Univers LT Std 45 Light"/>
                </a:rPr>
              </a:br>
              <a:r>
                <a:rPr sz="1350" kern="0" dirty="0">
                  <a:solidFill>
                    <a:srgbClr val="FFFFFF"/>
                  </a:solidFill>
                  <a:latin typeface="Univers LT Std 45 Light"/>
                  <a:sym typeface="Univers LT Std 45 Light"/>
                </a:rPr>
                <a:t>en combustible entre un </a:t>
              </a:r>
              <a:r>
                <a:rPr lang="es-ES" sz="1350" kern="0" dirty="0" smtClean="0">
                  <a:solidFill>
                    <a:srgbClr val="FFFFFF"/>
                  </a:solidFill>
                  <a:latin typeface="Univers LT Std 45 Light"/>
                  <a:sym typeface="Univers LT Std 45 Light"/>
                </a:rPr>
                <a:t>30</a:t>
              </a:r>
              <a:r>
                <a:rPr sz="1350" kern="0" dirty="0" smtClean="0">
                  <a:solidFill>
                    <a:srgbClr val="FFFFFF"/>
                  </a:solidFill>
                  <a:latin typeface="Univers LT Std 45 Light"/>
                  <a:sym typeface="Univers LT Std 45 Light"/>
                </a:rPr>
                <a:t>% </a:t>
              </a:r>
              <a:r>
                <a:rPr sz="1350" kern="0" dirty="0">
                  <a:solidFill>
                    <a:srgbClr val="FFFFFF"/>
                  </a:solidFill>
                  <a:latin typeface="Univers LT Std 45 Light"/>
                  <a:sym typeface="Univers LT Std 45 Light"/>
                </a:rPr>
                <a:t>(gasóleo) y un </a:t>
              </a:r>
              <a:r>
                <a:rPr lang="es-ES" sz="1350" kern="0" dirty="0" smtClean="0">
                  <a:solidFill>
                    <a:srgbClr val="FFFFFF"/>
                  </a:solidFill>
                  <a:latin typeface="Univers LT Std 45 Light"/>
                  <a:sym typeface="Univers LT Std 45 Light"/>
                </a:rPr>
                <a:t>5</a:t>
              </a:r>
              <a:r>
                <a:rPr sz="1350" kern="0" dirty="0" smtClean="0">
                  <a:solidFill>
                    <a:srgbClr val="FFFFFF"/>
                  </a:solidFill>
                  <a:latin typeface="Univers LT Std 45 Light"/>
                  <a:sym typeface="Univers LT Std 45 Light"/>
                </a:rPr>
                <a:t>0</a:t>
              </a:r>
              <a:r>
                <a:rPr sz="1350" kern="0" dirty="0">
                  <a:solidFill>
                    <a:srgbClr val="FFFFFF"/>
                  </a:solidFill>
                  <a:latin typeface="Univers LT Std 45 Light"/>
                  <a:sym typeface="Univers LT Std 45 Light"/>
                </a:rPr>
                <a:t>% (gasolina) por coste y rendimiento del motor.</a:t>
              </a:r>
            </a:p>
          </p:txBody>
        </p:sp>
        <p:sp>
          <p:nvSpPr>
            <p:cNvPr id="285" name="Shape 285"/>
            <p:cNvSpPr/>
            <p:nvPr/>
          </p:nvSpPr>
          <p:spPr>
            <a:xfrm>
              <a:off x="7795135" y="1758536"/>
              <a:ext cx="4428371" cy="2254664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lIns="25399" tIns="25399" rIns="25399" bIns="25399" anchor="ctr">
              <a:normAutofit/>
            </a:bodyPr>
            <a:lstStyle/>
            <a:p>
              <a:pPr marL="148166" lvl="1" indent="-148166" defTabSz="412749" hangingPunct="0">
                <a:spcAft>
                  <a:spcPts val="1800"/>
                </a:spcAft>
                <a:buClr>
                  <a:srgbClr val="70C564"/>
                </a:buClr>
                <a:buSzPct val="100000"/>
                <a:buFontTx/>
                <a:buChar char="‣"/>
                <a:defRPr sz="1800">
                  <a:solidFill>
                    <a:srgbClr val="FFFFFF"/>
                  </a:solidFill>
                  <a:latin typeface="Univers LT Std 45 Light"/>
                  <a:ea typeface="Univers LT Std 45 Light"/>
                  <a:cs typeface="Univers LT Std 45 Light"/>
                  <a:sym typeface="Univers LT Std 45 Light"/>
                </a:defRPr>
              </a:pPr>
              <a:r>
                <a:rPr sz="1500" kern="0" dirty="0">
                  <a:solidFill>
                    <a:srgbClr val="55BE5A"/>
                  </a:solidFill>
                  <a:latin typeface="Univers LT Std 65 Bold"/>
                  <a:ea typeface="Univers LT Std 65 Bold"/>
                  <a:cs typeface="Univers LT Std 65 Bold"/>
                  <a:sym typeface="Univers LT Std 65 Bold"/>
                </a:rPr>
                <a:t>Aumento de la vida útil del motor </a:t>
              </a:r>
              <a:r>
                <a:rPr sz="1350" kern="0" dirty="0">
                  <a:solidFill>
                    <a:srgbClr val="FFFFFF"/>
                  </a:solidFill>
                  <a:latin typeface="Univers LT Std 65 Bold"/>
                  <a:ea typeface="Univers LT Std 65 Bold"/>
                  <a:cs typeface="Univers LT Std 65 Bold"/>
                  <a:sym typeface="Univers LT Std 65 Bold"/>
                </a:rPr>
                <a:t/>
              </a:r>
              <a:br>
                <a:rPr sz="1350" kern="0" dirty="0">
                  <a:solidFill>
                    <a:srgbClr val="FFFFFF"/>
                  </a:solidFill>
                  <a:latin typeface="Univers LT Std 65 Bold"/>
                  <a:ea typeface="Univers LT Std 65 Bold"/>
                  <a:cs typeface="Univers LT Std 65 Bold"/>
                  <a:sym typeface="Univers LT Std 65 Bold"/>
                </a:rPr>
              </a:br>
              <a:r>
                <a:rPr sz="1350" kern="0" spc="-14" dirty="0">
                  <a:solidFill>
                    <a:srgbClr val="FFFFFF"/>
                  </a:solidFill>
                  <a:latin typeface="Univers LT Std 45 Light"/>
                  <a:sym typeface="Univers LT Std 45 Light"/>
                </a:rPr>
                <a:t>y menor coste de mantenimiento, </a:t>
              </a:r>
              <a:br>
                <a:rPr sz="1350" kern="0" spc="-14" dirty="0">
                  <a:solidFill>
                    <a:srgbClr val="FFFFFF"/>
                  </a:solidFill>
                  <a:latin typeface="Univers LT Std 45 Light"/>
                  <a:sym typeface="Univers LT Std 45 Light"/>
                </a:rPr>
              </a:br>
              <a:r>
                <a:rPr sz="1350" kern="0" spc="-14" dirty="0">
                  <a:solidFill>
                    <a:srgbClr val="FFFFFF"/>
                  </a:solidFill>
                  <a:latin typeface="Univers LT Std 45 Light"/>
                  <a:sym typeface="Univers LT Std 45 Light"/>
                </a:rPr>
                <a:t>El GNC no produce residuos carbonosos,no forma sedimentos y tiene en general una combustión más limpia y homogénea, aumenta la vida útil del motor, bujías y filtros.</a:t>
              </a:r>
            </a:p>
          </p:txBody>
        </p:sp>
        <p:sp>
          <p:nvSpPr>
            <p:cNvPr id="357" name="Shape 357"/>
            <p:cNvSpPr/>
            <p:nvPr/>
          </p:nvSpPr>
          <p:spPr>
            <a:xfrm>
              <a:off x="3804375" y="1869395"/>
              <a:ext cx="1516592" cy="711733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lIns="35719" tIns="35719" rIns="35719" bIns="35719" anchor="ctr">
              <a:spAutoFit/>
            </a:bodyPr>
            <a:lstStyle/>
            <a:p>
              <a:pPr marL="133350" lvl="1" indent="-133350" defTabSz="412749" hangingPunct="0">
                <a:spcBef>
                  <a:spcPts val="825"/>
                </a:spcBef>
                <a:buClr>
                  <a:srgbClr val="70C564"/>
                </a:buClr>
                <a:buSzPct val="100000"/>
                <a:buFontTx/>
                <a:buChar char="‣"/>
                <a:defRPr sz="2000">
                  <a:solidFill>
                    <a:srgbClr val="55BE5A"/>
                  </a:solidFill>
                  <a:latin typeface="Univers LT Std 65 Bold"/>
                  <a:ea typeface="Univers LT Std 65 Bold"/>
                  <a:cs typeface="Univers LT Std 65 Bold"/>
                  <a:sym typeface="Univers LT Std 65 Bold"/>
                </a:defRPr>
              </a:pPr>
              <a:r>
                <a:rPr lang="es-ES" sz="1500" kern="0" dirty="0">
                  <a:solidFill>
                    <a:srgbClr val="55BE5A"/>
                  </a:solidFill>
                  <a:latin typeface="Univers LT Std 65 Bold"/>
                  <a:sym typeface="Univers LT Std 65 Bold"/>
                </a:rPr>
                <a:t>Menor fiscalidad</a:t>
              </a:r>
            </a:p>
          </p:txBody>
        </p:sp>
        <p:sp>
          <p:nvSpPr>
            <p:cNvPr id="358" name="Shape 358"/>
            <p:cNvSpPr/>
            <p:nvPr/>
          </p:nvSpPr>
          <p:spPr>
            <a:xfrm>
              <a:off x="5541448" y="1869395"/>
              <a:ext cx="1985567" cy="711733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lIns="35719" tIns="35719" rIns="35719" bIns="35719" anchor="ctr">
              <a:spAutoFit/>
            </a:bodyPr>
            <a:lstStyle>
              <a:lvl1pPr marL="177800" indent="-177800" algn="l" defTabSz="550332">
                <a:spcBef>
                  <a:spcPts val="1100"/>
                </a:spcBef>
                <a:buClr>
                  <a:srgbClr val="70C564"/>
                </a:buClr>
                <a:buSzPct val="100000"/>
                <a:buChar char="‣"/>
                <a:defRPr sz="2000">
                  <a:solidFill>
                    <a:srgbClr val="55BE5A"/>
                  </a:solidFill>
                  <a:latin typeface="Univers LT Std 65 Bold"/>
                  <a:ea typeface="Univers LT Std 65 Bold"/>
                  <a:cs typeface="Univers LT Std 65 Bold"/>
                  <a:sym typeface="Univers LT Std 65 Bold"/>
                </a:defRPr>
              </a:lvl1pPr>
            </a:lstStyle>
            <a:p>
              <a:pPr marL="133350" indent="-133350" defTabSz="412749" hangingPunct="0">
                <a:spcBef>
                  <a:spcPts val="825"/>
                </a:spcBef>
              </a:pPr>
              <a:r>
                <a:rPr sz="1500" kern="0"/>
                <a:t>Acceso a subvenciones</a:t>
              </a:r>
            </a:p>
          </p:txBody>
        </p:sp>
        <p:sp>
          <p:nvSpPr>
            <p:cNvPr id="359" name="Shape 359"/>
            <p:cNvSpPr/>
            <p:nvPr/>
          </p:nvSpPr>
          <p:spPr>
            <a:xfrm>
              <a:off x="12656824" y="1848177"/>
              <a:ext cx="2828572" cy="1026863"/>
            </a:xfrm>
            <a:prstGeom prst="rect">
              <a:avLst/>
            </a:prstGeom>
            <a:ln w="3175">
              <a:miter lim="400000"/>
            </a:ln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lIns="35719" tIns="35719" rIns="35719" bIns="35719" anchor="ctr">
              <a:spAutoFit/>
            </a:bodyPr>
            <a:lstStyle/>
            <a:p>
              <a:pPr marL="148166" lvl="1" indent="-148166" defTabSz="412749" hangingPunct="0">
                <a:lnSpc>
                  <a:spcPct val="108000"/>
                </a:lnSpc>
                <a:spcBef>
                  <a:spcPts val="1800"/>
                </a:spcBef>
                <a:buClr>
                  <a:srgbClr val="70C564"/>
                </a:buClr>
                <a:buSzPct val="100000"/>
                <a:buFontTx/>
                <a:buChar char="‣"/>
                <a:defRPr sz="1800">
                  <a:solidFill>
                    <a:srgbClr val="FFFFFF"/>
                  </a:solidFill>
                  <a:latin typeface="Univers LT Std 45 Light"/>
                  <a:ea typeface="Univers LT Std 45 Light"/>
                  <a:cs typeface="Univers LT Std 45 Light"/>
                  <a:sym typeface="Univers LT Std 45 Light"/>
                </a:defRPr>
              </a:pPr>
              <a:r>
                <a:rPr sz="1500" kern="0" dirty="0">
                  <a:solidFill>
                    <a:srgbClr val="55BE5A"/>
                  </a:solidFill>
                  <a:latin typeface="Univers LT Std 65 Bold"/>
                  <a:ea typeface="Univers LT Std 65 Bold"/>
                  <a:cs typeface="Univers LT Std 65 Bold"/>
                  <a:sym typeface="Univers LT Std 65 Bold"/>
                </a:rPr>
                <a:t>Ventajas</a:t>
              </a:r>
              <a:r>
                <a:rPr sz="1350" kern="0" dirty="0">
                  <a:solidFill>
                    <a:srgbClr val="FFFFFF"/>
                  </a:solidFill>
                  <a:latin typeface="Univers LT Std 65 Bold"/>
                  <a:ea typeface="Univers LT Std 65 Bold"/>
                  <a:cs typeface="Univers LT Std 65 Bold"/>
                  <a:sym typeface="Univers LT Std 65 Bold"/>
                </a:rPr>
                <a:t> </a:t>
              </a:r>
              <a:r>
                <a:rPr sz="1350" kern="0" spc="-14" dirty="0">
                  <a:solidFill>
                    <a:srgbClr val="FFFFFF"/>
                  </a:solidFill>
                  <a:latin typeface="Univers LT Std 45 Light"/>
                  <a:sym typeface="Univers LT Std 45 Light"/>
                </a:rPr>
                <a:t>en impuesto de matriculación y parkings</a:t>
              </a:r>
            </a:p>
          </p:txBody>
        </p:sp>
        <p:sp>
          <p:nvSpPr>
            <p:cNvPr id="360" name="Shape 360"/>
            <p:cNvSpPr/>
            <p:nvPr/>
          </p:nvSpPr>
          <p:spPr>
            <a:xfrm flipV="1">
              <a:off x="3603075" y="1949037"/>
              <a:ext cx="1" cy="1223214"/>
            </a:xfrm>
            <a:prstGeom prst="line">
              <a:avLst/>
            </a:prstGeom>
            <a:ln w="12700">
              <a:solidFill>
                <a:srgbClr val="FFFFFF"/>
              </a:solidFill>
              <a:miter lim="400000"/>
            </a:ln>
          </p:spPr>
          <p:txBody>
            <a:bodyPr lIns="35719" tIns="35719" rIns="35719" bIns="35719" anchor="ctr"/>
            <a:lstStyle/>
            <a:p>
              <a:pPr algn="ctr" defTabSz="410765" hangingPunct="0">
                <a:defRPr sz="2200"/>
              </a:pPr>
              <a:endParaRPr sz="1650" kern="0">
                <a:solidFill>
                  <a:srgbClr val="000000"/>
                </a:solidFill>
                <a:latin typeface="Helvetica Light"/>
                <a:sym typeface="Helvetica Light"/>
              </a:endParaRPr>
            </a:p>
          </p:txBody>
        </p:sp>
        <p:sp>
          <p:nvSpPr>
            <p:cNvPr id="361" name="Shape 361"/>
            <p:cNvSpPr/>
            <p:nvPr/>
          </p:nvSpPr>
          <p:spPr>
            <a:xfrm flipV="1">
              <a:off x="5347898" y="1949036"/>
              <a:ext cx="1" cy="1223214"/>
            </a:xfrm>
            <a:prstGeom prst="line">
              <a:avLst/>
            </a:prstGeom>
            <a:ln w="12700">
              <a:solidFill>
                <a:srgbClr val="FFFFFF"/>
              </a:solidFill>
              <a:miter lim="400000"/>
            </a:ln>
          </p:spPr>
          <p:txBody>
            <a:bodyPr lIns="35719" tIns="35719" rIns="35719" bIns="35719" anchor="ctr"/>
            <a:lstStyle/>
            <a:p>
              <a:pPr algn="ctr" defTabSz="410765" hangingPunct="0">
                <a:defRPr sz="2200"/>
              </a:pPr>
              <a:endParaRPr sz="1650" kern="0">
                <a:solidFill>
                  <a:srgbClr val="000000"/>
                </a:solidFill>
                <a:latin typeface="Helvetica Light"/>
                <a:sym typeface="Helvetica Light"/>
              </a:endParaRPr>
            </a:p>
          </p:txBody>
        </p:sp>
        <p:sp>
          <p:nvSpPr>
            <p:cNvPr id="362" name="Shape 362"/>
            <p:cNvSpPr/>
            <p:nvPr/>
          </p:nvSpPr>
          <p:spPr>
            <a:xfrm flipV="1">
              <a:off x="7667424" y="1949036"/>
              <a:ext cx="1" cy="1223214"/>
            </a:xfrm>
            <a:prstGeom prst="line">
              <a:avLst/>
            </a:prstGeom>
            <a:ln w="12700">
              <a:solidFill>
                <a:srgbClr val="FFFFFF"/>
              </a:solidFill>
              <a:miter lim="400000"/>
            </a:ln>
          </p:spPr>
          <p:txBody>
            <a:bodyPr lIns="35719" tIns="35719" rIns="35719" bIns="35719" anchor="ctr"/>
            <a:lstStyle/>
            <a:p>
              <a:pPr algn="ctr" defTabSz="410765" hangingPunct="0">
                <a:defRPr sz="2200"/>
              </a:pPr>
              <a:endParaRPr sz="1650" kern="0">
                <a:solidFill>
                  <a:srgbClr val="000000"/>
                </a:solidFill>
                <a:latin typeface="Helvetica Light"/>
                <a:sym typeface="Helvetica Light"/>
              </a:endParaRPr>
            </a:p>
          </p:txBody>
        </p:sp>
        <p:sp>
          <p:nvSpPr>
            <p:cNvPr id="363" name="Shape 363"/>
            <p:cNvSpPr/>
            <p:nvPr/>
          </p:nvSpPr>
          <p:spPr>
            <a:xfrm flipV="1">
              <a:off x="12496219" y="1949036"/>
              <a:ext cx="1" cy="1223214"/>
            </a:xfrm>
            <a:prstGeom prst="line">
              <a:avLst/>
            </a:prstGeom>
            <a:ln w="12700">
              <a:solidFill>
                <a:srgbClr val="FFFFFF"/>
              </a:solidFill>
              <a:miter lim="400000"/>
            </a:ln>
          </p:spPr>
          <p:txBody>
            <a:bodyPr lIns="35719" tIns="35719" rIns="35719" bIns="35719" anchor="ctr"/>
            <a:lstStyle/>
            <a:p>
              <a:pPr algn="ctr" defTabSz="410765" hangingPunct="0">
                <a:defRPr sz="2200"/>
              </a:pPr>
              <a:endParaRPr sz="1650" kern="0">
                <a:solidFill>
                  <a:srgbClr val="000000"/>
                </a:solidFill>
                <a:latin typeface="Helvetica Light"/>
                <a:sym typeface="Helvetica Light"/>
              </a:endParaRPr>
            </a:p>
          </p:txBody>
        </p:sp>
      </p:grpSp>
      <p:sp>
        <p:nvSpPr>
          <p:cNvPr id="364" name="Shape 364"/>
          <p:cNvSpPr/>
          <p:nvPr/>
        </p:nvSpPr>
        <p:spPr>
          <a:xfrm>
            <a:off x="-2164" y="-1"/>
            <a:ext cx="56557" cy="1130301"/>
          </a:xfrm>
          <a:prstGeom prst="rect">
            <a:avLst/>
          </a:prstGeom>
          <a:solidFill>
            <a:srgbClr val="0554FA"/>
          </a:solidFill>
          <a:ln w="3175">
            <a:miter lim="400000"/>
          </a:ln>
        </p:spPr>
        <p:txBody>
          <a:bodyPr lIns="25399" tIns="25399" rIns="25399" bIns="25399" anchor="ctr"/>
          <a:lstStyle/>
          <a:p>
            <a:pPr algn="ctr" defTabSz="412749" hangingPunct="0">
              <a:defRPr sz="2400"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1570951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fill="hold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" name="gast.jpg"/>
          <p:cNvPicPr>
            <a:picLocks noChangeAspect="1"/>
          </p:cNvPicPr>
          <p:nvPr/>
        </p:nvPicPr>
        <p:blipFill>
          <a:blip r:embed="rId3">
            <a:extLst/>
          </a:blip>
          <a:srcRect l="14378" t="20001" b="30488"/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104" name="Imagen 10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17414" y="0"/>
            <a:ext cx="12209414" cy="6862451"/>
          </a:xfrm>
          <a:prstGeom prst="rect">
            <a:avLst/>
          </a:prstGeom>
        </p:spPr>
      </p:pic>
      <p:sp>
        <p:nvSpPr>
          <p:cNvPr id="369" name="Shape 369"/>
          <p:cNvSpPr/>
          <p:nvPr/>
        </p:nvSpPr>
        <p:spPr>
          <a:xfrm>
            <a:off x="398145" y="251141"/>
            <a:ext cx="10232034" cy="628016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25400" tIns="25400" rIns="25400" bIns="25400" anchor="ctr">
            <a:normAutofit/>
          </a:bodyPr>
          <a:lstStyle/>
          <a:p>
            <a:pPr defTabSz="412750" hangingPunct="0">
              <a:lnSpc>
                <a:spcPct val="90000"/>
              </a:lnSpc>
              <a:defRPr sz="5100">
                <a:solidFill>
                  <a:srgbClr val="FFFFFF"/>
                </a:solidFill>
                <a:latin typeface="Univers LT Std 45 Light"/>
                <a:ea typeface="Univers LT Std 45 Light"/>
                <a:cs typeface="Univers LT Std 45 Light"/>
                <a:sym typeface="Univers LT Std 45 Light"/>
              </a:defRPr>
            </a:pPr>
            <a:endParaRPr lang="es-ES" sz="2700" b="1" kern="0" dirty="0">
              <a:solidFill>
                <a:srgbClr val="FFFFFF"/>
              </a:solidFill>
              <a:latin typeface="Univers LT Std 45 Light"/>
              <a:ea typeface="Arial"/>
              <a:cs typeface="Arial"/>
              <a:sym typeface="Arial"/>
            </a:endParaRPr>
          </a:p>
        </p:txBody>
      </p:sp>
      <p:sp>
        <p:nvSpPr>
          <p:cNvPr id="432" name="Shape 432"/>
          <p:cNvSpPr/>
          <p:nvPr/>
        </p:nvSpPr>
        <p:spPr>
          <a:xfrm>
            <a:off x="-14198" y="-1"/>
            <a:ext cx="56557" cy="1130301"/>
          </a:xfrm>
          <a:prstGeom prst="rect">
            <a:avLst/>
          </a:prstGeom>
          <a:solidFill>
            <a:srgbClr val="0554FA"/>
          </a:solidFill>
          <a:ln w="3175">
            <a:miter lim="400000"/>
          </a:ln>
        </p:spPr>
        <p:txBody>
          <a:bodyPr lIns="25399" tIns="25399" rIns="25399" bIns="25399" anchor="ctr"/>
          <a:lstStyle/>
          <a:p>
            <a:pPr algn="ctr" defTabSz="412749" hangingPunct="0">
              <a:defRPr sz="2400"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grpSp>
        <p:nvGrpSpPr>
          <p:cNvPr id="3" name="Grupo 2"/>
          <p:cNvGrpSpPr/>
          <p:nvPr/>
        </p:nvGrpSpPr>
        <p:grpSpPr>
          <a:xfrm>
            <a:off x="5371200" y="1293386"/>
            <a:ext cx="6528501" cy="5376289"/>
            <a:chOff x="5484562" y="1674729"/>
            <a:chExt cx="4929188" cy="4059238"/>
          </a:xfrm>
        </p:grpSpPr>
        <p:pic>
          <p:nvPicPr>
            <p:cNvPr id="35" name="Picture 10" descr="https://elpais.com/elpais/imagenes/2014/11/13/ciencia/1415893051_731963_1415895568_noticia_grande.jp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040" r="5522"/>
            <a:stretch>
              <a:fillRect/>
            </a:stretch>
          </p:blipFill>
          <p:spPr bwMode="auto">
            <a:xfrm>
              <a:off x="5538537" y="1674729"/>
              <a:ext cx="4875213" cy="40592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6" name="Rectángulo 35"/>
            <p:cNvSpPr/>
            <p:nvPr/>
          </p:nvSpPr>
          <p:spPr>
            <a:xfrm>
              <a:off x="6564062" y="4981492"/>
              <a:ext cx="63500" cy="468312"/>
            </a:xfrm>
            <a:prstGeom prst="rect">
              <a:avLst/>
            </a:prstGeom>
            <a:solidFill>
              <a:srgbClr val="FF18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ES"/>
            </a:p>
          </p:txBody>
        </p:sp>
        <p:sp>
          <p:nvSpPr>
            <p:cNvPr id="37" name="TextBox 4"/>
            <p:cNvSpPr txBox="1">
              <a:spLocks noChangeArrowheads="1"/>
            </p:cNvSpPr>
            <p:nvPr/>
          </p:nvSpPr>
          <p:spPr bwMode="auto">
            <a:xfrm>
              <a:off x="5484562" y="4925929"/>
              <a:ext cx="1152525" cy="4357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r"/>
              <a:r>
                <a:rPr lang="es-ES" altLang="es-ES" sz="1050" dirty="0">
                  <a:solidFill>
                    <a:schemeClr val="bg1"/>
                  </a:solidFill>
                  <a:latin typeface="Univers LT Std 55 Roman" charset="0"/>
                </a:rPr>
                <a:t>Huelva. EMTUSA. Empresa Municipal Transportes</a:t>
              </a:r>
            </a:p>
          </p:txBody>
        </p:sp>
        <p:sp>
          <p:nvSpPr>
            <p:cNvPr id="38" name="TextBox 4"/>
            <p:cNvSpPr txBox="1">
              <a:spLocks noChangeArrowheads="1"/>
            </p:cNvSpPr>
            <p:nvPr/>
          </p:nvSpPr>
          <p:spPr bwMode="auto">
            <a:xfrm>
              <a:off x="7940425" y="1754104"/>
              <a:ext cx="1152525" cy="3137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r>
                <a:rPr lang="es-ES" altLang="es-ES" sz="1050" dirty="0" err="1">
                  <a:solidFill>
                    <a:schemeClr val="bg1"/>
                  </a:solidFill>
                  <a:latin typeface="Univers LT Std 55 Roman" charset="0"/>
                </a:rPr>
                <a:t>Getxo</a:t>
              </a:r>
              <a:r>
                <a:rPr lang="es-ES" altLang="es-ES" sz="1050" dirty="0">
                  <a:solidFill>
                    <a:schemeClr val="bg1"/>
                  </a:solidFill>
                  <a:latin typeface="Univers LT Std 55 Roman" charset="0"/>
                </a:rPr>
                <a:t>. </a:t>
              </a:r>
            </a:p>
            <a:p>
              <a:r>
                <a:rPr lang="es-ES" altLang="es-ES" sz="1050" dirty="0">
                  <a:solidFill>
                    <a:schemeClr val="bg1"/>
                  </a:solidFill>
                  <a:latin typeface="Univers LT Std 55 Roman" charset="0"/>
                </a:rPr>
                <a:t>RSU</a:t>
              </a:r>
            </a:p>
          </p:txBody>
        </p:sp>
        <p:sp>
          <p:nvSpPr>
            <p:cNvPr id="39" name="TextBox 4"/>
            <p:cNvSpPr txBox="1">
              <a:spLocks noChangeArrowheads="1"/>
            </p:cNvSpPr>
            <p:nvPr/>
          </p:nvSpPr>
          <p:spPr bwMode="auto">
            <a:xfrm>
              <a:off x="9073900" y="4135354"/>
              <a:ext cx="1000125" cy="3137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r>
                <a:rPr lang="es-ES" altLang="es-ES" sz="1050" dirty="0">
                  <a:solidFill>
                    <a:schemeClr val="bg1"/>
                  </a:solidFill>
                  <a:latin typeface="Univers LT Std 55 Roman" charset="0"/>
                </a:rPr>
                <a:t>Ibiza.</a:t>
              </a:r>
            </a:p>
            <a:p>
              <a:r>
                <a:rPr lang="es-ES" altLang="es-ES" sz="1050" dirty="0">
                  <a:solidFill>
                    <a:schemeClr val="bg1"/>
                  </a:solidFill>
                  <a:latin typeface="Univers LT Std 55 Roman" charset="0"/>
                </a:rPr>
                <a:t>RSU</a:t>
              </a:r>
            </a:p>
          </p:txBody>
        </p:sp>
        <p:sp>
          <p:nvSpPr>
            <p:cNvPr id="40" name="TextBox 4"/>
            <p:cNvSpPr txBox="1">
              <a:spLocks noChangeArrowheads="1"/>
            </p:cNvSpPr>
            <p:nvPr/>
          </p:nvSpPr>
          <p:spPr bwMode="auto">
            <a:xfrm>
              <a:off x="8037262" y="4036929"/>
              <a:ext cx="1000125" cy="3137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r>
                <a:rPr lang="es-ES" altLang="es-ES" sz="1050" dirty="0">
                  <a:latin typeface="Univers LT Std 55 Roman" charset="0"/>
                </a:rPr>
                <a:t>Albacete.</a:t>
              </a:r>
            </a:p>
            <a:p>
              <a:r>
                <a:rPr lang="es-ES" altLang="es-ES" sz="1050" dirty="0">
                  <a:latin typeface="Univers LT Std 55 Roman" charset="0"/>
                </a:rPr>
                <a:t>RSU</a:t>
              </a:r>
            </a:p>
          </p:txBody>
        </p:sp>
        <p:sp>
          <p:nvSpPr>
            <p:cNvPr id="41" name="TextBox 4"/>
            <p:cNvSpPr txBox="1">
              <a:spLocks noChangeArrowheads="1"/>
            </p:cNvSpPr>
            <p:nvPr/>
          </p:nvSpPr>
          <p:spPr bwMode="auto">
            <a:xfrm>
              <a:off x="6543425" y="3214604"/>
              <a:ext cx="1046162" cy="435711"/>
            </a:xfrm>
            <a:prstGeom prst="rect">
              <a:avLst/>
            </a:prstGeom>
            <a:solidFill>
              <a:schemeClr val="bg1">
                <a:alpha val="5999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algn="r"/>
              <a:r>
                <a:rPr lang="es-ES" altLang="es-ES" sz="1050" dirty="0">
                  <a:latin typeface="Univers LT Std 55 Roman" charset="0"/>
                </a:rPr>
                <a:t>Valdemoro</a:t>
              </a:r>
            </a:p>
            <a:p>
              <a:pPr algn="r"/>
              <a:r>
                <a:rPr lang="es-ES" altLang="es-ES" sz="1050" dirty="0">
                  <a:latin typeface="Univers LT Std 55 Roman" charset="0"/>
                </a:rPr>
                <a:t>Transporte Urbano e Inter</a:t>
              </a:r>
            </a:p>
          </p:txBody>
        </p:sp>
        <p:sp>
          <p:nvSpPr>
            <p:cNvPr id="42" name="Rectángulo 41"/>
            <p:cNvSpPr/>
            <p:nvPr/>
          </p:nvSpPr>
          <p:spPr>
            <a:xfrm>
              <a:off x="7943600" y="1819192"/>
              <a:ext cx="63500" cy="468312"/>
            </a:xfrm>
            <a:prstGeom prst="rect">
              <a:avLst/>
            </a:prstGeom>
            <a:solidFill>
              <a:srgbClr val="FF18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ES"/>
            </a:p>
          </p:txBody>
        </p:sp>
        <p:sp>
          <p:nvSpPr>
            <p:cNvPr id="43" name="Rectángulo 42"/>
            <p:cNvSpPr/>
            <p:nvPr/>
          </p:nvSpPr>
          <p:spPr>
            <a:xfrm>
              <a:off x="9573962" y="3279692"/>
              <a:ext cx="63500" cy="468312"/>
            </a:xfrm>
            <a:prstGeom prst="rect">
              <a:avLst/>
            </a:prstGeom>
            <a:solidFill>
              <a:srgbClr val="FF18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ES"/>
            </a:p>
          </p:txBody>
        </p:sp>
        <p:sp>
          <p:nvSpPr>
            <p:cNvPr id="44" name="Rectángulo 43"/>
            <p:cNvSpPr/>
            <p:nvPr/>
          </p:nvSpPr>
          <p:spPr>
            <a:xfrm>
              <a:off x="9073900" y="4167104"/>
              <a:ext cx="63500" cy="468313"/>
            </a:xfrm>
            <a:prstGeom prst="rect">
              <a:avLst/>
            </a:prstGeom>
            <a:solidFill>
              <a:srgbClr val="FF18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ES"/>
            </a:p>
          </p:txBody>
        </p:sp>
        <p:sp>
          <p:nvSpPr>
            <p:cNvPr id="45" name="Rectángulo 44"/>
            <p:cNvSpPr/>
            <p:nvPr/>
          </p:nvSpPr>
          <p:spPr>
            <a:xfrm>
              <a:off x="8018212" y="4122654"/>
              <a:ext cx="63500" cy="468313"/>
            </a:xfrm>
            <a:prstGeom prst="rect">
              <a:avLst/>
            </a:prstGeom>
            <a:solidFill>
              <a:srgbClr val="FF18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ES"/>
            </a:p>
          </p:txBody>
        </p:sp>
        <p:sp>
          <p:nvSpPr>
            <p:cNvPr id="46" name="Rectángulo 45"/>
            <p:cNvSpPr/>
            <p:nvPr/>
          </p:nvSpPr>
          <p:spPr>
            <a:xfrm>
              <a:off x="7626100" y="3214604"/>
              <a:ext cx="63500" cy="468313"/>
            </a:xfrm>
            <a:prstGeom prst="rect">
              <a:avLst/>
            </a:prstGeom>
            <a:solidFill>
              <a:srgbClr val="FF18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ES"/>
            </a:p>
          </p:txBody>
        </p:sp>
        <p:sp>
          <p:nvSpPr>
            <p:cNvPr id="47" name="Rectángulo 46"/>
            <p:cNvSpPr/>
            <p:nvPr/>
          </p:nvSpPr>
          <p:spPr>
            <a:xfrm>
              <a:off x="8254750" y="4795754"/>
              <a:ext cx="63500" cy="468313"/>
            </a:xfrm>
            <a:prstGeom prst="rect">
              <a:avLst/>
            </a:prstGeom>
            <a:solidFill>
              <a:srgbClr val="FF18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ES"/>
            </a:p>
          </p:txBody>
        </p:sp>
        <p:sp>
          <p:nvSpPr>
            <p:cNvPr id="48" name="TextBox 4"/>
            <p:cNvSpPr txBox="1">
              <a:spLocks noChangeArrowheads="1"/>
            </p:cNvSpPr>
            <p:nvPr/>
          </p:nvSpPr>
          <p:spPr bwMode="auto">
            <a:xfrm>
              <a:off x="8259512" y="4744954"/>
              <a:ext cx="1000125" cy="3137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r>
                <a:rPr lang="es-ES" altLang="es-ES" sz="1050" dirty="0">
                  <a:solidFill>
                    <a:schemeClr val="bg1"/>
                  </a:solidFill>
                  <a:latin typeface="Univers LT Std 55 Roman" charset="0"/>
                </a:rPr>
                <a:t>Algeciras</a:t>
              </a:r>
            </a:p>
            <a:p>
              <a:r>
                <a:rPr lang="es-ES" altLang="es-ES" sz="1050" dirty="0">
                  <a:solidFill>
                    <a:schemeClr val="bg1"/>
                  </a:solidFill>
                  <a:latin typeface="Univers LT Std 55 Roman" charset="0"/>
                </a:rPr>
                <a:t>Logística</a:t>
              </a:r>
            </a:p>
          </p:txBody>
        </p:sp>
        <p:sp>
          <p:nvSpPr>
            <p:cNvPr id="49" name="Rectángulo 48"/>
            <p:cNvSpPr/>
            <p:nvPr/>
          </p:nvSpPr>
          <p:spPr>
            <a:xfrm>
              <a:off x="8323012" y="2533567"/>
              <a:ext cx="63500" cy="468312"/>
            </a:xfrm>
            <a:prstGeom prst="rect">
              <a:avLst/>
            </a:prstGeom>
            <a:solidFill>
              <a:srgbClr val="FF18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ES"/>
            </a:p>
          </p:txBody>
        </p:sp>
        <p:sp>
          <p:nvSpPr>
            <p:cNvPr id="50" name="TextBox 4"/>
            <p:cNvSpPr txBox="1">
              <a:spLocks noChangeArrowheads="1"/>
            </p:cNvSpPr>
            <p:nvPr/>
          </p:nvSpPr>
          <p:spPr bwMode="auto">
            <a:xfrm>
              <a:off x="8440487" y="2524042"/>
              <a:ext cx="855663" cy="435711"/>
            </a:xfrm>
            <a:prstGeom prst="rect">
              <a:avLst/>
            </a:prstGeom>
            <a:solidFill>
              <a:schemeClr val="bg1">
                <a:alpha val="59999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r>
                <a:rPr lang="es-ES" altLang="es-ES" sz="1050" dirty="0">
                  <a:latin typeface="Univers LT Std 55 Roman" charset="0"/>
                </a:rPr>
                <a:t>Zaragoza</a:t>
              </a:r>
            </a:p>
            <a:p>
              <a:r>
                <a:rPr lang="es-ES" altLang="es-ES" sz="1050" dirty="0">
                  <a:latin typeface="Univers LT Std 55 Roman" charset="0"/>
                </a:rPr>
                <a:t>Cooperativa del Taxi</a:t>
              </a:r>
            </a:p>
          </p:txBody>
        </p:sp>
        <p:sp>
          <p:nvSpPr>
            <p:cNvPr id="51" name="TextBox 4"/>
            <p:cNvSpPr txBox="1">
              <a:spLocks noChangeArrowheads="1"/>
            </p:cNvSpPr>
            <p:nvPr/>
          </p:nvSpPr>
          <p:spPr bwMode="auto">
            <a:xfrm>
              <a:off x="7351462" y="4256004"/>
              <a:ext cx="1000125" cy="2846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r>
                <a:rPr lang="es-ES" altLang="es-ES" sz="1050" dirty="0">
                  <a:latin typeface="Univers LT Std 55 Roman" charset="0"/>
                </a:rPr>
                <a:t>Córdoba</a:t>
              </a:r>
            </a:p>
            <a:p>
              <a:r>
                <a:rPr lang="es-ES" altLang="es-ES" sz="800" dirty="0">
                  <a:latin typeface="Univers LT Std 55 Roman" charset="0"/>
                </a:rPr>
                <a:t>En construcción</a:t>
              </a:r>
            </a:p>
          </p:txBody>
        </p:sp>
        <p:sp>
          <p:nvSpPr>
            <p:cNvPr id="52" name="Rectángulo 51"/>
            <p:cNvSpPr/>
            <p:nvPr/>
          </p:nvSpPr>
          <p:spPr>
            <a:xfrm>
              <a:off x="7348287" y="4327442"/>
              <a:ext cx="63500" cy="468312"/>
            </a:xfrm>
            <a:prstGeom prst="rect">
              <a:avLst/>
            </a:prstGeom>
            <a:solidFill>
              <a:srgbClr val="FF18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ES"/>
            </a:p>
          </p:txBody>
        </p:sp>
        <p:sp>
          <p:nvSpPr>
            <p:cNvPr id="53" name="TextBox 4"/>
            <p:cNvSpPr txBox="1">
              <a:spLocks noChangeArrowheads="1"/>
            </p:cNvSpPr>
            <p:nvPr/>
          </p:nvSpPr>
          <p:spPr bwMode="auto">
            <a:xfrm>
              <a:off x="7197475" y="3754354"/>
              <a:ext cx="1000125" cy="2846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r>
                <a:rPr lang="es-ES" altLang="es-ES" sz="1050" dirty="0">
                  <a:latin typeface="Univers LT Std 55 Roman" charset="0"/>
                </a:rPr>
                <a:t>Sta. Cruz </a:t>
              </a:r>
              <a:r>
                <a:rPr lang="es-ES" altLang="es-ES" sz="1050" dirty="0" err="1">
                  <a:latin typeface="Univers LT Std 55 Roman" charset="0"/>
                </a:rPr>
                <a:t>Mudela</a:t>
              </a:r>
              <a:endParaRPr lang="es-ES" altLang="es-ES" sz="1050" dirty="0">
                <a:latin typeface="Univers LT Std 55 Roman" charset="0"/>
              </a:endParaRPr>
            </a:p>
            <a:p>
              <a:r>
                <a:rPr lang="es-ES" altLang="es-ES" sz="800" dirty="0">
                  <a:latin typeface="Univers LT Std 55 Roman" charset="0"/>
                </a:rPr>
                <a:t>Logística</a:t>
              </a:r>
            </a:p>
          </p:txBody>
        </p:sp>
        <p:sp>
          <p:nvSpPr>
            <p:cNvPr id="54" name="Rectángulo 53"/>
            <p:cNvSpPr/>
            <p:nvPr/>
          </p:nvSpPr>
          <p:spPr>
            <a:xfrm>
              <a:off x="7192712" y="3824204"/>
              <a:ext cx="63500" cy="468313"/>
            </a:xfrm>
            <a:prstGeom prst="rect">
              <a:avLst/>
            </a:prstGeom>
            <a:solidFill>
              <a:srgbClr val="FF186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ES"/>
            </a:p>
          </p:txBody>
        </p:sp>
      </p:grpSp>
      <p:sp>
        <p:nvSpPr>
          <p:cNvPr id="56" name="TextBox 4"/>
          <p:cNvSpPr txBox="1">
            <a:spLocks noChangeArrowheads="1"/>
          </p:cNvSpPr>
          <p:nvPr/>
        </p:nvSpPr>
        <p:spPr bwMode="auto">
          <a:xfrm>
            <a:off x="10837962" y="3316446"/>
            <a:ext cx="1000125" cy="577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s-ES" altLang="es-ES" sz="1050" dirty="0">
                <a:solidFill>
                  <a:schemeClr val="bg1"/>
                </a:solidFill>
                <a:latin typeface="Univers LT Std 55 Roman" charset="0"/>
              </a:rPr>
              <a:t>Palma de Mallorca</a:t>
            </a:r>
          </a:p>
          <a:p>
            <a:r>
              <a:rPr lang="es-ES" altLang="es-ES" sz="1050" dirty="0">
                <a:solidFill>
                  <a:schemeClr val="bg1"/>
                </a:solidFill>
                <a:latin typeface="Univers LT Std 55 Roman" charset="0"/>
              </a:rPr>
              <a:t>EMT</a:t>
            </a:r>
          </a:p>
        </p:txBody>
      </p:sp>
      <p:grpSp>
        <p:nvGrpSpPr>
          <p:cNvPr id="2" name="Grupo 1"/>
          <p:cNvGrpSpPr/>
          <p:nvPr/>
        </p:nvGrpSpPr>
        <p:grpSpPr>
          <a:xfrm>
            <a:off x="292811" y="1193617"/>
            <a:ext cx="5332960" cy="5284448"/>
            <a:chOff x="292811" y="1193617"/>
            <a:chExt cx="5332960" cy="5284448"/>
          </a:xfrm>
        </p:grpSpPr>
        <p:sp>
          <p:nvSpPr>
            <p:cNvPr id="34" name="Título 17"/>
            <p:cNvSpPr txBox="1">
              <a:spLocks/>
            </p:cNvSpPr>
            <p:nvPr/>
          </p:nvSpPr>
          <p:spPr bwMode="auto">
            <a:xfrm>
              <a:off x="438386" y="5720343"/>
              <a:ext cx="4584464" cy="7247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r>
                <a:rPr lang="es-ES" altLang="es-ES" sz="1600" dirty="0">
                  <a:solidFill>
                    <a:schemeClr val="bg1"/>
                  </a:solidFill>
                  <a:latin typeface="Univers LT Std 55 Roman" charset="0"/>
                </a:rPr>
                <a:t>C</a:t>
              </a:r>
              <a:r>
                <a:rPr lang="es-ES" altLang="es-ES" sz="1600" dirty="0" smtClean="0">
                  <a:solidFill>
                    <a:schemeClr val="bg1"/>
                  </a:solidFill>
                  <a:latin typeface="Univers LT Std 55 Roman" charset="0"/>
                </a:rPr>
                <a:t>onfían </a:t>
              </a:r>
              <a:r>
                <a:rPr lang="es-ES" altLang="es-ES" sz="1600" dirty="0">
                  <a:solidFill>
                    <a:schemeClr val="bg1"/>
                  </a:solidFill>
                  <a:latin typeface="Univers LT Std 55 Roman" charset="0"/>
                </a:rPr>
                <a:t>en Endesa la </a:t>
              </a:r>
              <a:r>
                <a:rPr lang="es-ES" altLang="es-ES" sz="1600" b="1" dirty="0">
                  <a:solidFill>
                    <a:schemeClr val="bg1"/>
                  </a:solidFill>
                  <a:latin typeface="Univers LT Std 55 Roman" charset="0"/>
                </a:rPr>
                <a:t>construcción</a:t>
              </a:r>
              <a:r>
                <a:rPr lang="es-ES" altLang="es-ES" sz="1600" dirty="0">
                  <a:solidFill>
                    <a:schemeClr val="bg1"/>
                  </a:solidFill>
                  <a:latin typeface="Univers LT Std 55 Roman" charset="0"/>
                </a:rPr>
                <a:t>, </a:t>
              </a:r>
              <a:r>
                <a:rPr lang="es-ES" altLang="es-ES" sz="1600" b="1" dirty="0">
                  <a:solidFill>
                    <a:schemeClr val="bg1"/>
                  </a:solidFill>
                  <a:latin typeface="Univers LT Std 55 Roman" charset="0"/>
                </a:rPr>
                <a:t>explotación</a:t>
              </a:r>
              <a:r>
                <a:rPr lang="es-ES" altLang="es-ES" sz="1600" dirty="0">
                  <a:solidFill>
                    <a:schemeClr val="bg1"/>
                  </a:solidFill>
                  <a:latin typeface="Univers LT Std 55 Roman" charset="0"/>
                </a:rPr>
                <a:t> y </a:t>
              </a:r>
              <a:r>
                <a:rPr lang="es-ES" altLang="es-ES" sz="1600" b="1" dirty="0">
                  <a:solidFill>
                    <a:schemeClr val="bg1"/>
                  </a:solidFill>
                  <a:latin typeface="Univers LT Std 55 Roman" charset="0"/>
                </a:rPr>
                <a:t>suministro</a:t>
              </a:r>
              <a:r>
                <a:rPr lang="es-ES" altLang="es-ES" sz="1600" dirty="0">
                  <a:solidFill>
                    <a:schemeClr val="bg1"/>
                  </a:solidFill>
                  <a:latin typeface="Univers LT Std 55 Roman" charset="0"/>
                </a:rPr>
                <a:t> para hacer de la movilidad sostenible en las ciudades una realidad</a:t>
              </a:r>
              <a:endParaRPr lang="es-ES_tradnl" altLang="es-ES" sz="1600" dirty="0">
                <a:solidFill>
                  <a:schemeClr val="bg1"/>
                </a:solidFill>
                <a:latin typeface="Univers LT Std 55 Roman" charset="0"/>
              </a:endParaRPr>
            </a:p>
          </p:txBody>
        </p:sp>
        <p:sp>
          <p:nvSpPr>
            <p:cNvPr id="57" name="object 9"/>
            <p:cNvSpPr/>
            <p:nvPr/>
          </p:nvSpPr>
          <p:spPr>
            <a:xfrm>
              <a:off x="473674" y="1193617"/>
              <a:ext cx="1020271" cy="991323"/>
            </a:xfrm>
            <a:custGeom>
              <a:avLst/>
              <a:gdLst/>
              <a:ahLst/>
              <a:cxnLst/>
              <a:rect l="l" t="t" r="r" b="b"/>
              <a:pathLst>
                <a:path w="1189989" h="1189990">
                  <a:moveTo>
                    <a:pt x="594735" y="0"/>
                  </a:moveTo>
                  <a:lnTo>
                    <a:pt x="549109" y="1741"/>
                  </a:lnTo>
                  <a:lnTo>
                    <a:pt x="503700" y="6967"/>
                  </a:lnTo>
                  <a:lnTo>
                    <a:pt x="458723" y="15677"/>
                  </a:lnTo>
                  <a:lnTo>
                    <a:pt x="414396" y="27871"/>
                  </a:lnTo>
                  <a:lnTo>
                    <a:pt x="370935" y="43548"/>
                  </a:lnTo>
                  <a:lnTo>
                    <a:pt x="328556" y="62709"/>
                  </a:lnTo>
                  <a:lnTo>
                    <a:pt x="287476" y="85355"/>
                  </a:lnTo>
                  <a:lnTo>
                    <a:pt x="247911" y="111484"/>
                  </a:lnTo>
                  <a:lnTo>
                    <a:pt x="210078" y="141097"/>
                  </a:lnTo>
                  <a:lnTo>
                    <a:pt x="174193" y="174194"/>
                  </a:lnTo>
                  <a:lnTo>
                    <a:pt x="141096" y="210079"/>
                  </a:lnTo>
                  <a:lnTo>
                    <a:pt x="111483" y="247912"/>
                  </a:lnTo>
                  <a:lnTo>
                    <a:pt x="85354" y="287476"/>
                  </a:lnTo>
                  <a:lnTo>
                    <a:pt x="62709" y="328556"/>
                  </a:lnTo>
                  <a:lnTo>
                    <a:pt x="43548" y="370935"/>
                  </a:lnTo>
                  <a:lnTo>
                    <a:pt x="27870" y="414396"/>
                  </a:lnTo>
                  <a:lnTo>
                    <a:pt x="15677" y="458723"/>
                  </a:lnTo>
                  <a:lnTo>
                    <a:pt x="6967" y="503699"/>
                  </a:lnTo>
                  <a:lnTo>
                    <a:pt x="1741" y="549109"/>
                  </a:lnTo>
                  <a:lnTo>
                    <a:pt x="0" y="594734"/>
                  </a:lnTo>
                  <a:lnTo>
                    <a:pt x="1741" y="640360"/>
                  </a:lnTo>
                  <a:lnTo>
                    <a:pt x="6967" y="685769"/>
                  </a:lnTo>
                  <a:lnTo>
                    <a:pt x="15677" y="730746"/>
                  </a:lnTo>
                  <a:lnTo>
                    <a:pt x="27870" y="775073"/>
                  </a:lnTo>
                  <a:lnTo>
                    <a:pt x="43548" y="818534"/>
                  </a:lnTo>
                  <a:lnTo>
                    <a:pt x="62709" y="860913"/>
                  </a:lnTo>
                  <a:lnTo>
                    <a:pt x="85354" y="901993"/>
                  </a:lnTo>
                  <a:lnTo>
                    <a:pt x="111483" y="941557"/>
                  </a:lnTo>
                  <a:lnTo>
                    <a:pt x="141096" y="979390"/>
                  </a:lnTo>
                  <a:lnTo>
                    <a:pt x="174193" y="1015275"/>
                  </a:lnTo>
                  <a:lnTo>
                    <a:pt x="210078" y="1048372"/>
                  </a:lnTo>
                  <a:lnTo>
                    <a:pt x="247911" y="1077985"/>
                  </a:lnTo>
                  <a:lnTo>
                    <a:pt x="287476" y="1104114"/>
                  </a:lnTo>
                  <a:lnTo>
                    <a:pt x="328556" y="1126760"/>
                  </a:lnTo>
                  <a:lnTo>
                    <a:pt x="370935" y="1145921"/>
                  </a:lnTo>
                  <a:lnTo>
                    <a:pt x="414396" y="1161598"/>
                  </a:lnTo>
                  <a:lnTo>
                    <a:pt x="458723" y="1173792"/>
                  </a:lnTo>
                  <a:lnTo>
                    <a:pt x="503700" y="1182502"/>
                  </a:lnTo>
                  <a:lnTo>
                    <a:pt x="549109" y="1187727"/>
                  </a:lnTo>
                  <a:lnTo>
                    <a:pt x="594735" y="1189469"/>
                  </a:lnTo>
                  <a:lnTo>
                    <a:pt x="640360" y="1187727"/>
                  </a:lnTo>
                  <a:lnTo>
                    <a:pt x="685770" y="1182502"/>
                  </a:lnTo>
                  <a:lnTo>
                    <a:pt x="730746" y="1173792"/>
                  </a:lnTo>
                  <a:lnTo>
                    <a:pt x="775073" y="1161598"/>
                  </a:lnTo>
                  <a:lnTo>
                    <a:pt x="818534" y="1145921"/>
                  </a:lnTo>
                  <a:lnTo>
                    <a:pt x="860913" y="1126760"/>
                  </a:lnTo>
                  <a:lnTo>
                    <a:pt x="901993" y="1104114"/>
                  </a:lnTo>
                  <a:lnTo>
                    <a:pt x="941558" y="1077985"/>
                  </a:lnTo>
                  <a:lnTo>
                    <a:pt x="979391" y="1048372"/>
                  </a:lnTo>
                  <a:lnTo>
                    <a:pt x="1015276" y="1015275"/>
                  </a:lnTo>
                  <a:lnTo>
                    <a:pt x="1048373" y="979390"/>
                  </a:lnTo>
                  <a:lnTo>
                    <a:pt x="1077986" y="941557"/>
                  </a:lnTo>
                  <a:lnTo>
                    <a:pt x="1104115" y="901993"/>
                  </a:lnTo>
                  <a:lnTo>
                    <a:pt x="1126760" y="860913"/>
                  </a:lnTo>
                  <a:lnTo>
                    <a:pt x="1145921" y="818534"/>
                  </a:lnTo>
                  <a:lnTo>
                    <a:pt x="1161598" y="775073"/>
                  </a:lnTo>
                  <a:lnTo>
                    <a:pt x="1173792" y="730746"/>
                  </a:lnTo>
                  <a:lnTo>
                    <a:pt x="1182501" y="685769"/>
                  </a:lnTo>
                  <a:lnTo>
                    <a:pt x="1187727" y="640360"/>
                  </a:lnTo>
                  <a:lnTo>
                    <a:pt x="1189469" y="594734"/>
                  </a:lnTo>
                  <a:lnTo>
                    <a:pt x="1187727" y="549109"/>
                  </a:lnTo>
                  <a:lnTo>
                    <a:pt x="1182501" y="503699"/>
                  </a:lnTo>
                  <a:lnTo>
                    <a:pt x="1173792" y="458723"/>
                  </a:lnTo>
                  <a:lnTo>
                    <a:pt x="1161598" y="414396"/>
                  </a:lnTo>
                  <a:lnTo>
                    <a:pt x="1145921" y="370935"/>
                  </a:lnTo>
                  <a:lnTo>
                    <a:pt x="1126760" y="328556"/>
                  </a:lnTo>
                  <a:lnTo>
                    <a:pt x="1104115" y="287476"/>
                  </a:lnTo>
                  <a:lnTo>
                    <a:pt x="1077986" y="247912"/>
                  </a:lnTo>
                  <a:lnTo>
                    <a:pt x="1048373" y="210079"/>
                  </a:lnTo>
                  <a:lnTo>
                    <a:pt x="1015276" y="174194"/>
                  </a:lnTo>
                  <a:lnTo>
                    <a:pt x="979391" y="141097"/>
                  </a:lnTo>
                  <a:lnTo>
                    <a:pt x="941558" y="111484"/>
                  </a:lnTo>
                  <a:lnTo>
                    <a:pt x="901993" y="85355"/>
                  </a:lnTo>
                  <a:lnTo>
                    <a:pt x="860913" y="62709"/>
                  </a:lnTo>
                  <a:lnTo>
                    <a:pt x="818534" y="43548"/>
                  </a:lnTo>
                  <a:lnTo>
                    <a:pt x="775073" y="27871"/>
                  </a:lnTo>
                  <a:lnTo>
                    <a:pt x="730746" y="15677"/>
                  </a:lnTo>
                  <a:lnTo>
                    <a:pt x="685770" y="6967"/>
                  </a:lnTo>
                  <a:lnTo>
                    <a:pt x="640360" y="1741"/>
                  </a:lnTo>
                  <a:lnTo>
                    <a:pt x="594735" y="0"/>
                  </a:lnTo>
                  <a:close/>
                </a:path>
              </a:pathLst>
            </a:custGeom>
            <a:solidFill>
              <a:srgbClr val="FFFFFF"/>
            </a:solidFill>
            <a:ln>
              <a:solidFill>
                <a:srgbClr val="FF0F64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8" name="Shape 821"/>
            <p:cNvSpPr/>
            <p:nvPr/>
          </p:nvSpPr>
          <p:spPr>
            <a:xfrm rot="16200000" flipH="1">
              <a:off x="1503076" y="1657177"/>
              <a:ext cx="189241" cy="18468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</a:path>
              </a:pathLst>
            </a:custGeom>
            <a:ln w="6350">
              <a:solidFill>
                <a:srgbClr val="FF0F64"/>
              </a:solidFill>
              <a:miter lim="400000"/>
            </a:ln>
          </p:spPr>
          <p:txBody>
            <a:bodyPr lIns="35719" tIns="35719" rIns="35719" bIns="35719" anchor="ctr"/>
            <a:lstStyle/>
            <a:p>
              <a:pPr algn="ctr" defTabSz="410765" hangingPunct="0">
                <a:defRPr sz="2200"/>
              </a:pPr>
              <a:endParaRPr sz="1650" kern="0">
                <a:solidFill>
                  <a:srgbClr val="000000"/>
                </a:solidFill>
                <a:latin typeface="Helvetica Light"/>
                <a:sym typeface="Helvetica Light"/>
              </a:endParaRPr>
            </a:p>
          </p:txBody>
        </p:sp>
        <p:sp>
          <p:nvSpPr>
            <p:cNvPr id="6" name="CuadroTexto 5"/>
            <p:cNvSpPr txBox="1"/>
            <p:nvPr/>
          </p:nvSpPr>
          <p:spPr>
            <a:xfrm>
              <a:off x="1760374" y="1599605"/>
              <a:ext cx="3861296" cy="342401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7625" tIns="47625" rIns="47625" bIns="47625" numCol="1" spcCol="38100" rtlCol="0" anchor="ctr">
              <a:spAutoFit/>
            </a:bodyPr>
            <a:lstStyle/>
            <a:p>
              <a:pPr marL="0" marR="0" indent="0" defTabSz="547687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es-ES" sz="1600" b="0" i="0" u="none" strike="noStrike" cap="none" spc="0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uFillTx/>
                  <a:latin typeface="Univers LT Std 45 Light"/>
                  <a:sym typeface="Helvetica Light"/>
                </a:rPr>
                <a:t>Empresas de logística</a:t>
              </a:r>
              <a:endParaRPr kumimoji="0" lang="es-ES" sz="1600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Univers LT Std 45 Light"/>
                <a:sym typeface="Helvetica Light"/>
              </a:endParaRPr>
            </a:p>
          </p:txBody>
        </p:sp>
        <p:sp>
          <p:nvSpPr>
            <p:cNvPr id="82" name="object 9"/>
            <p:cNvSpPr/>
            <p:nvPr/>
          </p:nvSpPr>
          <p:spPr>
            <a:xfrm>
              <a:off x="514248" y="2301279"/>
              <a:ext cx="978455" cy="978455"/>
            </a:xfrm>
            <a:custGeom>
              <a:avLst/>
              <a:gdLst/>
              <a:ahLst/>
              <a:cxnLst/>
              <a:rect l="l" t="t" r="r" b="b"/>
              <a:pathLst>
                <a:path w="1189989" h="1189990">
                  <a:moveTo>
                    <a:pt x="594735" y="0"/>
                  </a:moveTo>
                  <a:lnTo>
                    <a:pt x="549109" y="1741"/>
                  </a:lnTo>
                  <a:lnTo>
                    <a:pt x="503700" y="6967"/>
                  </a:lnTo>
                  <a:lnTo>
                    <a:pt x="458723" y="15677"/>
                  </a:lnTo>
                  <a:lnTo>
                    <a:pt x="414396" y="27871"/>
                  </a:lnTo>
                  <a:lnTo>
                    <a:pt x="370935" y="43548"/>
                  </a:lnTo>
                  <a:lnTo>
                    <a:pt x="328556" y="62709"/>
                  </a:lnTo>
                  <a:lnTo>
                    <a:pt x="287476" y="85355"/>
                  </a:lnTo>
                  <a:lnTo>
                    <a:pt x="247911" y="111484"/>
                  </a:lnTo>
                  <a:lnTo>
                    <a:pt x="210078" y="141097"/>
                  </a:lnTo>
                  <a:lnTo>
                    <a:pt x="174193" y="174194"/>
                  </a:lnTo>
                  <a:lnTo>
                    <a:pt x="141096" y="210079"/>
                  </a:lnTo>
                  <a:lnTo>
                    <a:pt x="111483" y="247912"/>
                  </a:lnTo>
                  <a:lnTo>
                    <a:pt x="85354" y="287476"/>
                  </a:lnTo>
                  <a:lnTo>
                    <a:pt x="62709" y="328556"/>
                  </a:lnTo>
                  <a:lnTo>
                    <a:pt x="43548" y="370935"/>
                  </a:lnTo>
                  <a:lnTo>
                    <a:pt x="27870" y="414396"/>
                  </a:lnTo>
                  <a:lnTo>
                    <a:pt x="15677" y="458723"/>
                  </a:lnTo>
                  <a:lnTo>
                    <a:pt x="6967" y="503699"/>
                  </a:lnTo>
                  <a:lnTo>
                    <a:pt x="1741" y="549109"/>
                  </a:lnTo>
                  <a:lnTo>
                    <a:pt x="0" y="594734"/>
                  </a:lnTo>
                  <a:lnTo>
                    <a:pt x="1741" y="640360"/>
                  </a:lnTo>
                  <a:lnTo>
                    <a:pt x="6967" y="685769"/>
                  </a:lnTo>
                  <a:lnTo>
                    <a:pt x="15677" y="730746"/>
                  </a:lnTo>
                  <a:lnTo>
                    <a:pt x="27870" y="775073"/>
                  </a:lnTo>
                  <a:lnTo>
                    <a:pt x="43548" y="818534"/>
                  </a:lnTo>
                  <a:lnTo>
                    <a:pt x="62709" y="860913"/>
                  </a:lnTo>
                  <a:lnTo>
                    <a:pt x="85354" y="901993"/>
                  </a:lnTo>
                  <a:lnTo>
                    <a:pt x="111483" y="941557"/>
                  </a:lnTo>
                  <a:lnTo>
                    <a:pt x="141096" y="979390"/>
                  </a:lnTo>
                  <a:lnTo>
                    <a:pt x="174193" y="1015275"/>
                  </a:lnTo>
                  <a:lnTo>
                    <a:pt x="210078" y="1048372"/>
                  </a:lnTo>
                  <a:lnTo>
                    <a:pt x="247911" y="1077985"/>
                  </a:lnTo>
                  <a:lnTo>
                    <a:pt x="287476" y="1104114"/>
                  </a:lnTo>
                  <a:lnTo>
                    <a:pt x="328556" y="1126760"/>
                  </a:lnTo>
                  <a:lnTo>
                    <a:pt x="370935" y="1145921"/>
                  </a:lnTo>
                  <a:lnTo>
                    <a:pt x="414396" y="1161598"/>
                  </a:lnTo>
                  <a:lnTo>
                    <a:pt x="458723" y="1173792"/>
                  </a:lnTo>
                  <a:lnTo>
                    <a:pt x="503700" y="1182502"/>
                  </a:lnTo>
                  <a:lnTo>
                    <a:pt x="549109" y="1187727"/>
                  </a:lnTo>
                  <a:lnTo>
                    <a:pt x="594735" y="1189469"/>
                  </a:lnTo>
                  <a:lnTo>
                    <a:pt x="640360" y="1187727"/>
                  </a:lnTo>
                  <a:lnTo>
                    <a:pt x="685770" y="1182502"/>
                  </a:lnTo>
                  <a:lnTo>
                    <a:pt x="730746" y="1173792"/>
                  </a:lnTo>
                  <a:lnTo>
                    <a:pt x="775073" y="1161598"/>
                  </a:lnTo>
                  <a:lnTo>
                    <a:pt x="818534" y="1145921"/>
                  </a:lnTo>
                  <a:lnTo>
                    <a:pt x="860913" y="1126760"/>
                  </a:lnTo>
                  <a:lnTo>
                    <a:pt x="901993" y="1104114"/>
                  </a:lnTo>
                  <a:lnTo>
                    <a:pt x="941558" y="1077985"/>
                  </a:lnTo>
                  <a:lnTo>
                    <a:pt x="979391" y="1048372"/>
                  </a:lnTo>
                  <a:lnTo>
                    <a:pt x="1015276" y="1015275"/>
                  </a:lnTo>
                  <a:lnTo>
                    <a:pt x="1048373" y="979390"/>
                  </a:lnTo>
                  <a:lnTo>
                    <a:pt x="1077986" y="941557"/>
                  </a:lnTo>
                  <a:lnTo>
                    <a:pt x="1104115" y="901993"/>
                  </a:lnTo>
                  <a:lnTo>
                    <a:pt x="1126760" y="860913"/>
                  </a:lnTo>
                  <a:lnTo>
                    <a:pt x="1145921" y="818534"/>
                  </a:lnTo>
                  <a:lnTo>
                    <a:pt x="1161598" y="775073"/>
                  </a:lnTo>
                  <a:lnTo>
                    <a:pt x="1173792" y="730746"/>
                  </a:lnTo>
                  <a:lnTo>
                    <a:pt x="1182501" y="685769"/>
                  </a:lnTo>
                  <a:lnTo>
                    <a:pt x="1187727" y="640360"/>
                  </a:lnTo>
                  <a:lnTo>
                    <a:pt x="1189469" y="594734"/>
                  </a:lnTo>
                  <a:lnTo>
                    <a:pt x="1187727" y="549109"/>
                  </a:lnTo>
                  <a:lnTo>
                    <a:pt x="1182501" y="503699"/>
                  </a:lnTo>
                  <a:lnTo>
                    <a:pt x="1173792" y="458723"/>
                  </a:lnTo>
                  <a:lnTo>
                    <a:pt x="1161598" y="414396"/>
                  </a:lnTo>
                  <a:lnTo>
                    <a:pt x="1145921" y="370935"/>
                  </a:lnTo>
                  <a:lnTo>
                    <a:pt x="1126760" y="328556"/>
                  </a:lnTo>
                  <a:lnTo>
                    <a:pt x="1104115" y="287476"/>
                  </a:lnTo>
                  <a:lnTo>
                    <a:pt x="1077986" y="247912"/>
                  </a:lnTo>
                  <a:lnTo>
                    <a:pt x="1048373" y="210079"/>
                  </a:lnTo>
                  <a:lnTo>
                    <a:pt x="1015276" y="174194"/>
                  </a:lnTo>
                  <a:lnTo>
                    <a:pt x="979391" y="141097"/>
                  </a:lnTo>
                  <a:lnTo>
                    <a:pt x="941558" y="111484"/>
                  </a:lnTo>
                  <a:lnTo>
                    <a:pt x="901993" y="85355"/>
                  </a:lnTo>
                  <a:lnTo>
                    <a:pt x="860913" y="62709"/>
                  </a:lnTo>
                  <a:lnTo>
                    <a:pt x="818534" y="43548"/>
                  </a:lnTo>
                  <a:lnTo>
                    <a:pt x="775073" y="27871"/>
                  </a:lnTo>
                  <a:lnTo>
                    <a:pt x="730746" y="15677"/>
                  </a:lnTo>
                  <a:lnTo>
                    <a:pt x="685770" y="6967"/>
                  </a:lnTo>
                  <a:lnTo>
                    <a:pt x="640360" y="1741"/>
                  </a:lnTo>
                  <a:lnTo>
                    <a:pt x="594735" y="0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rgbClr val="FF0F64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3" name="Shape 821"/>
            <p:cNvSpPr/>
            <p:nvPr/>
          </p:nvSpPr>
          <p:spPr>
            <a:xfrm rot="16200000" flipH="1">
              <a:off x="1499133" y="2817578"/>
              <a:ext cx="189241" cy="18468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</a:path>
              </a:pathLst>
            </a:custGeom>
            <a:ln w="6350">
              <a:solidFill>
                <a:srgbClr val="FF0F64"/>
              </a:solidFill>
              <a:miter lim="400000"/>
            </a:ln>
          </p:spPr>
          <p:txBody>
            <a:bodyPr lIns="35719" tIns="35719" rIns="35719" bIns="35719" anchor="ctr"/>
            <a:lstStyle/>
            <a:p>
              <a:pPr algn="ctr" defTabSz="410765" hangingPunct="0">
                <a:defRPr sz="2200"/>
              </a:pPr>
              <a:endParaRPr sz="1650" kern="0">
                <a:solidFill>
                  <a:srgbClr val="000000"/>
                </a:solidFill>
                <a:latin typeface="Helvetica Light"/>
                <a:sym typeface="Helvetica Light"/>
              </a:endParaRPr>
            </a:p>
          </p:txBody>
        </p:sp>
        <p:sp>
          <p:nvSpPr>
            <p:cNvPr id="84" name="CuadroTexto 83"/>
            <p:cNvSpPr txBox="1"/>
            <p:nvPr/>
          </p:nvSpPr>
          <p:spPr>
            <a:xfrm>
              <a:off x="1747311" y="2743675"/>
              <a:ext cx="3861296" cy="342401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7625" tIns="47625" rIns="47625" bIns="47625" numCol="1" spcCol="38100" rtlCol="0" anchor="ctr">
              <a:spAutoFit/>
            </a:bodyPr>
            <a:lstStyle/>
            <a:p>
              <a:pPr marL="0" marR="0" indent="0" defTabSz="547687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s-ES" sz="1600" dirty="0" smtClean="0">
                  <a:solidFill>
                    <a:schemeClr val="bg1"/>
                  </a:solidFill>
                  <a:latin typeface="Univers LT Std 45 Light"/>
                  <a:sym typeface="Helvetica Light"/>
                </a:rPr>
                <a:t>Cooperativas de taxi</a:t>
              </a:r>
              <a:endParaRPr kumimoji="0" lang="es-ES" sz="1600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Univers LT Std 45 Light"/>
                <a:sym typeface="Helvetica Light"/>
              </a:endParaRPr>
            </a:p>
          </p:txBody>
        </p:sp>
        <p:sp>
          <p:nvSpPr>
            <p:cNvPr id="90" name="object 9"/>
            <p:cNvSpPr/>
            <p:nvPr/>
          </p:nvSpPr>
          <p:spPr>
            <a:xfrm>
              <a:off x="444466" y="3378465"/>
              <a:ext cx="1020271" cy="991323"/>
            </a:xfrm>
            <a:custGeom>
              <a:avLst/>
              <a:gdLst/>
              <a:ahLst/>
              <a:cxnLst/>
              <a:rect l="l" t="t" r="r" b="b"/>
              <a:pathLst>
                <a:path w="1189989" h="1189990">
                  <a:moveTo>
                    <a:pt x="594735" y="0"/>
                  </a:moveTo>
                  <a:lnTo>
                    <a:pt x="549109" y="1741"/>
                  </a:lnTo>
                  <a:lnTo>
                    <a:pt x="503700" y="6967"/>
                  </a:lnTo>
                  <a:lnTo>
                    <a:pt x="458723" y="15677"/>
                  </a:lnTo>
                  <a:lnTo>
                    <a:pt x="414396" y="27871"/>
                  </a:lnTo>
                  <a:lnTo>
                    <a:pt x="370935" y="43548"/>
                  </a:lnTo>
                  <a:lnTo>
                    <a:pt x="328556" y="62709"/>
                  </a:lnTo>
                  <a:lnTo>
                    <a:pt x="287476" y="85355"/>
                  </a:lnTo>
                  <a:lnTo>
                    <a:pt x="247911" y="111484"/>
                  </a:lnTo>
                  <a:lnTo>
                    <a:pt x="210078" y="141097"/>
                  </a:lnTo>
                  <a:lnTo>
                    <a:pt x="174193" y="174194"/>
                  </a:lnTo>
                  <a:lnTo>
                    <a:pt x="141096" y="210079"/>
                  </a:lnTo>
                  <a:lnTo>
                    <a:pt x="111483" y="247912"/>
                  </a:lnTo>
                  <a:lnTo>
                    <a:pt x="85354" y="287476"/>
                  </a:lnTo>
                  <a:lnTo>
                    <a:pt x="62709" y="328556"/>
                  </a:lnTo>
                  <a:lnTo>
                    <a:pt x="43548" y="370935"/>
                  </a:lnTo>
                  <a:lnTo>
                    <a:pt x="27870" y="414396"/>
                  </a:lnTo>
                  <a:lnTo>
                    <a:pt x="15677" y="458723"/>
                  </a:lnTo>
                  <a:lnTo>
                    <a:pt x="6967" y="503699"/>
                  </a:lnTo>
                  <a:lnTo>
                    <a:pt x="1741" y="549109"/>
                  </a:lnTo>
                  <a:lnTo>
                    <a:pt x="0" y="594734"/>
                  </a:lnTo>
                  <a:lnTo>
                    <a:pt x="1741" y="640360"/>
                  </a:lnTo>
                  <a:lnTo>
                    <a:pt x="6967" y="685769"/>
                  </a:lnTo>
                  <a:lnTo>
                    <a:pt x="15677" y="730746"/>
                  </a:lnTo>
                  <a:lnTo>
                    <a:pt x="27870" y="775073"/>
                  </a:lnTo>
                  <a:lnTo>
                    <a:pt x="43548" y="818534"/>
                  </a:lnTo>
                  <a:lnTo>
                    <a:pt x="62709" y="860913"/>
                  </a:lnTo>
                  <a:lnTo>
                    <a:pt x="85354" y="901993"/>
                  </a:lnTo>
                  <a:lnTo>
                    <a:pt x="111483" y="941557"/>
                  </a:lnTo>
                  <a:lnTo>
                    <a:pt x="141096" y="979390"/>
                  </a:lnTo>
                  <a:lnTo>
                    <a:pt x="174193" y="1015275"/>
                  </a:lnTo>
                  <a:lnTo>
                    <a:pt x="210078" y="1048372"/>
                  </a:lnTo>
                  <a:lnTo>
                    <a:pt x="247911" y="1077985"/>
                  </a:lnTo>
                  <a:lnTo>
                    <a:pt x="287476" y="1104114"/>
                  </a:lnTo>
                  <a:lnTo>
                    <a:pt x="328556" y="1126760"/>
                  </a:lnTo>
                  <a:lnTo>
                    <a:pt x="370935" y="1145921"/>
                  </a:lnTo>
                  <a:lnTo>
                    <a:pt x="414396" y="1161598"/>
                  </a:lnTo>
                  <a:lnTo>
                    <a:pt x="458723" y="1173792"/>
                  </a:lnTo>
                  <a:lnTo>
                    <a:pt x="503700" y="1182502"/>
                  </a:lnTo>
                  <a:lnTo>
                    <a:pt x="549109" y="1187727"/>
                  </a:lnTo>
                  <a:lnTo>
                    <a:pt x="594735" y="1189469"/>
                  </a:lnTo>
                  <a:lnTo>
                    <a:pt x="640360" y="1187727"/>
                  </a:lnTo>
                  <a:lnTo>
                    <a:pt x="685770" y="1182502"/>
                  </a:lnTo>
                  <a:lnTo>
                    <a:pt x="730746" y="1173792"/>
                  </a:lnTo>
                  <a:lnTo>
                    <a:pt x="775073" y="1161598"/>
                  </a:lnTo>
                  <a:lnTo>
                    <a:pt x="818534" y="1145921"/>
                  </a:lnTo>
                  <a:lnTo>
                    <a:pt x="860913" y="1126760"/>
                  </a:lnTo>
                  <a:lnTo>
                    <a:pt x="901993" y="1104114"/>
                  </a:lnTo>
                  <a:lnTo>
                    <a:pt x="941558" y="1077985"/>
                  </a:lnTo>
                  <a:lnTo>
                    <a:pt x="979391" y="1048372"/>
                  </a:lnTo>
                  <a:lnTo>
                    <a:pt x="1015276" y="1015275"/>
                  </a:lnTo>
                  <a:lnTo>
                    <a:pt x="1048373" y="979390"/>
                  </a:lnTo>
                  <a:lnTo>
                    <a:pt x="1077986" y="941557"/>
                  </a:lnTo>
                  <a:lnTo>
                    <a:pt x="1104115" y="901993"/>
                  </a:lnTo>
                  <a:lnTo>
                    <a:pt x="1126760" y="860913"/>
                  </a:lnTo>
                  <a:lnTo>
                    <a:pt x="1145921" y="818534"/>
                  </a:lnTo>
                  <a:lnTo>
                    <a:pt x="1161598" y="775073"/>
                  </a:lnTo>
                  <a:lnTo>
                    <a:pt x="1173792" y="730746"/>
                  </a:lnTo>
                  <a:lnTo>
                    <a:pt x="1182501" y="685769"/>
                  </a:lnTo>
                  <a:lnTo>
                    <a:pt x="1187727" y="640360"/>
                  </a:lnTo>
                  <a:lnTo>
                    <a:pt x="1189469" y="594734"/>
                  </a:lnTo>
                  <a:lnTo>
                    <a:pt x="1187727" y="549109"/>
                  </a:lnTo>
                  <a:lnTo>
                    <a:pt x="1182501" y="503699"/>
                  </a:lnTo>
                  <a:lnTo>
                    <a:pt x="1173792" y="458723"/>
                  </a:lnTo>
                  <a:lnTo>
                    <a:pt x="1161598" y="414396"/>
                  </a:lnTo>
                  <a:lnTo>
                    <a:pt x="1145921" y="370935"/>
                  </a:lnTo>
                  <a:lnTo>
                    <a:pt x="1126760" y="328556"/>
                  </a:lnTo>
                  <a:lnTo>
                    <a:pt x="1104115" y="287476"/>
                  </a:lnTo>
                  <a:lnTo>
                    <a:pt x="1077986" y="247912"/>
                  </a:lnTo>
                  <a:lnTo>
                    <a:pt x="1048373" y="210079"/>
                  </a:lnTo>
                  <a:lnTo>
                    <a:pt x="1015276" y="174194"/>
                  </a:lnTo>
                  <a:lnTo>
                    <a:pt x="979391" y="141097"/>
                  </a:lnTo>
                  <a:lnTo>
                    <a:pt x="941558" y="111484"/>
                  </a:lnTo>
                  <a:lnTo>
                    <a:pt x="901993" y="85355"/>
                  </a:lnTo>
                  <a:lnTo>
                    <a:pt x="860913" y="62709"/>
                  </a:lnTo>
                  <a:lnTo>
                    <a:pt x="818534" y="43548"/>
                  </a:lnTo>
                  <a:lnTo>
                    <a:pt x="775073" y="27871"/>
                  </a:lnTo>
                  <a:lnTo>
                    <a:pt x="730746" y="15677"/>
                  </a:lnTo>
                  <a:lnTo>
                    <a:pt x="685770" y="6967"/>
                  </a:lnTo>
                  <a:lnTo>
                    <a:pt x="640360" y="1741"/>
                  </a:lnTo>
                  <a:lnTo>
                    <a:pt x="594735" y="0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rgbClr val="FF0F64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1" name="Shape 821"/>
            <p:cNvSpPr/>
            <p:nvPr/>
          </p:nvSpPr>
          <p:spPr>
            <a:xfrm rot="16200000" flipH="1">
              <a:off x="1489611" y="3883749"/>
              <a:ext cx="189241" cy="18468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</a:path>
              </a:pathLst>
            </a:custGeom>
            <a:ln w="6350">
              <a:solidFill>
                <a:srgbClr val="FF0F64"/>
              </a:solidFill>
              <a:miter lim="400000"/>
            </a:ln>
          </p:spPr>
          <p:txBody>
            <a:bodyPr lIns="35719" tIns="35719" rIns="35719" bIns="35719" anchor="ctr"/>
            <a:lstStyle/>
            <a:p>
              <a:pPr algn="ctr" defTabSz="410765" hangingPunct="0">
                <a:defRPr sz="2200"/>
              </a:pPr>
              <a:endParaRPr sz="1650" kern="0">
                <a:solidFill>
                  <a:srgbClr val="000000"/>
                </a:solidFill>
                <a:latin typeface="Helvetica Light"/>
                <a:sym typeface="Helvetica Light"/>
              </a:endParaRPr>
            </a:p>
          </p:txBody>
        </p:sp>
        <p:sp>
          <p:nvSpPr>
            <p:cNvPr id="92" name="CuadroTexto 91"/>
            <p:cNvSpPr txBox="1"/>
            <p:nvPr/>
          </p:nvSpPr>
          <p:spPr>
            <a:xfrm>
              <a:off x="1764475" y="3593445"/>
              <a:ext cx="3861296" cy="588623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7625" tIns="47625" rIns="47625" bIns="47625" numCol="1" spcCol="38100" rtlCol="0" anchor="ctr">
              <a:spAutoFit/>
            </a:bodyPr>
            <a:lstStyle/>
            <a:p>
              <a:pPr marL="0" marR="0" indent="0" defTabSz="547687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s-ES" sz="1600" dirty="0" smtClean="0">
                  <a:solidFill>
                    <a:schemeClr val="bg1"/>
                  </a:solidFill>
                  <a:latin typeface="Univers LT Std 45 Light"/>
                  <a:sym typeface="Helvetica Light"/>
                </a:rPr>
                <a:t>Empresas municipales </a:t>
              </a:r>
            </a:p>
            <a:p>
              <a:pPr marL="0" marR="0" indent="0" defTabSz="547687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s-ES" sz="1600" dirty="0" smtClean="0">
                  <a:solidFill>
                    <a:schemeClr val="bg1"/>
                  </a:solidFill>
                  <a:latin typeface="Univers LT Std 45 Light"/>
                  <a:sym typeface="Helvetica Light"/>
                </a:rPr>
                <a:t>de transporte</a:t>
              </a:r>
              <a:endParaRPr kumimoji="0" lang="es-ES" sz="1600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Univers LT Std 45 Light"/>
                <a:sym typeface="Helvetica Light"/>
              </a:endParaRPr>
            </a:p>
          </p:txBody>
        </p:sp>
        <p:sp>
          <p:nvSpPr>
            <p:cNvPr id="93" name="object 9"/>
            <p:cNvSpPr/>
            <p:nvPr/>
          </p:nvSpPr>
          <p:spPr>
            <a:xfrm>
              <a:off x="438386" y="4476344"/>
              <a:ext cx="1020271" cy="991323"/>
            </a:xfrm>
            <a:custGeom>
              <a:avLst/>
              <a:gdLst/>
              <a:ahLst/>
              <a:cxnLst/>
              <a:rect l="l" t="t" r="r" b="b"/>
              <a:pathLst>
                <a:path w="1189989" h="1189990">
                  <a:moveTo>
                    <a:pt x="594735" y="0"/>
                  </a:moveTo>
                  <a:lnTo>
                    <a:pt x="549109" y="1741"/>
                  </a:lnTo>
                  <a:lnTo>
                    <a:pt x="503700" y="6967"/>
                  </a:lnTo>
                  <a:lnTo>
                    <a:pt x="458723" y="15677"/>
                  </a:lnTo>
                  <a:lnTo>
                    <a:pt x="414396" y="27871"/>
                  </a:lnTo>
                  <a:lnTo>
                    <a:pt x="370935" y="43548"/>
                  </a:lnTo>
                  <a:lnTo>
                    <a:pt x="328556" y="62709"/>
                  </a:lnTo>
                  <a:lnTo>
                    <a:pt x="287476" y="85355"/>
                  </a:lnTo>
                  <a:lnTo>
                    <a:pt x="247911" y="111484"/>
                  </a:lnTo>
                  <a:lnTo>
                    <a:pt x="210078" y="141097"/>
                  </a:lnTo>
                  <a:lnTo>
                    <a:pt x="174193" y="174194"/>
                  </a:lnTo>
                  <a:lnTo>
                    <a:pt x="141096" y="210079"/>
                  </a:lnTo>
                  <a:lnTo>
                    <a:pt x="111483" y="247912"/>
                  </a:lnTo>
                  <a:lnTo>
                    <a:pt x="85354" y="287476"/>
                  </a:lnTo>
                  <a:lnTo>
                    <a:pt x="62709" y="328556"/>
                  </a:lnTo>
                  <a:lnTo>
                    <a:pt x="43548" y="370935"/>
                  </a:lnTo>
                  <a:lnTo>
                    <a:pt x="27870" y="414396"/>
                  </a:lnTo>
                  <a:lnTo>
                    <a:pt x="15677" y="458723"/>
                  </a:lnTo>
                  <a:lnTo>
                    <a:pt x="6967" y="503699"/>
                  </a:lnTo>
                  <a:lnTo>
                    <a:pt x="1741" y="549109"/>
                  </a:lnTo>
                  <a:lnTo>
                    <a:pt x="0" y="594734"/>
                  </a:lnTo>
                  <a:lnTo>
                    <a:pt x="1741" y="640360"/>
                  </a:lnTo>
                  <a:lnTo>
                    <a:pt x="6967" y="685769"/>
                  </a:lnTo>
                  <a:lnTo>
                    <a:pt x="15677" y="730746"/>
                  </a:lnTo>
                  <a:lnTo>
                    <a:pt x="27870" y="775073"/>
                  </a:lnTo>
                  <a:lnTo>
                    <a:pt x="43548" y="818534"/>
                  </a:lnTo>
                  <a:lnTo>
                    <a:pt x="62709" y="860913"/>
                  </a:lnTo>
                  <a:lnTo>
                    <a:pt x="85354" y="901993"/>
                  </a:lnTo>
                  <a:lnTo>
                    <a:pt x="111483" y="941557"/>
                  </a:lnTo>
                  <a:lnTo>
                    <a:pt x="141096" y="979390"/>
                  </a:lnTo>
                  <a:lnTo>
                    <a:pt x="174193" y="1015275"/>
                  </a:lnTo>
                  <a:lnTo>
                    <a:pt x="210078" y="1048372"/>
                  </a:lnTo>
                  <a:lnTo>
                    <a:pt x="247911" y="1077985"/>
                  </a:lnTo>
                  <a:lnTo>
                    <a:pt x="287476" y="1104114"/>
                  </a:lnTo>
                  <a:lnTo>
                    <a:pt x="328556" y="1126760"/>
                  </a:lnTo>
                  <a:lnTo>
                    <a:pt x="370935" y="1145921"/>
                  </a:lnTo>
                  <a:lnTo>
                    <a:pt x="414396" y="1161598"/>
                  </a:lnTo>
                  <a:lnTo>
                    <a:pt x="458723" y="1173792"/>
                  </a:lnTo>
                  <a:lnTo>
                    <a:pt x="503700" y="1182502"/>
                  </a:lnTo>
                  <a:lnTo>
                    <a:pt x="549109" y="1187727"/>
                  </a:lnTo>
                  <a:lnTo>
                    <a:pt x="594735" y="1189469"/>
                  </a:lnTo>
                  <a:lnTo>
                    <a:pt x="640360" y="1187727"/>
                  </a:lnTo>
                  <a:lnTo>
                    <a:pt x="685770" y="1182502"/>
                  </a:lnTo>
                  <a:lnTo>
                    <a:pt x="730746" y="1173792"/>
                  </a:lnTo>
                  <a:lnTo>
                    <a:pt x="775073" y="1161598"/>
                  </a:lnTo>
                  <a:lnTo>
                    <a:pt x="818534" y="1145921"/>
                  </a:lnTo>
                  <a:lnTo>
                    <a:pt x="860913" y="1126760"/>
                  </a:lnTo>
                  <a:lnTo>
                    <a:pt x="901993" y="1104114"/>
                  </a:lnTo>
                  <a:lnTo>
                    <a:pt x="941558" y="1077985"/>
                  </a:lnTo>
                  <a:lnTo>
                    <a:pt x="979391" y="1048372"/>
                  </a:lnTo>
                  <a:lnTo>
                    <a:pt x="1015276" y="1015275"/>
                  </a:lnTo>
                  <a:lnTo>
                    <a:pt x="1048373" y="979390"/>
                  </a:lnTo>
                  <a:lnTo>
                    <a:pt x="1077986" y="941557"/>
                  </a:lnTo>
                  <a:lnTo>
                    <a:pt x="1104115" y="901993"/>
                  </a:lnTo>
                  <a:lnTo>
                    <a:pt x="1126760" y="860913"/>
                  </a:lnTo>
                  <a:lnTo>
                    <a:pt x="1145921" y="818534"/>
                  </a:lnTo>
                  <a:lnTo>
                    <a:pt x="1161598" y="775073"/>
                  </a:lnTo>
                  <a:lnTo>
                    <a:pt x="1173792" y="730746"/>
                  </a:lnTo>
                  <a:lnTo>
                    <a:pt x="1182501" y="685769"/>
                  </a:lnTo>
                  <a:lnTo>
                    <a:pt x="1187727" y="640360"/>
                  </a:lnTo>
                  <a:lnTo>
                    <a:pt x="1189469" y="594734"/>
                  </a:lnTo>
                  <a:lnTo>
                    <a:pt x="1187727" y="549109"/>
                  </a:lnTo>
                  <a:lnTo>
                    <a:pt x="1182501" y="503699"/>
                  </a:lnTo>
                  <a:lnTo>
                    <a:pt x="1173792" y="458723"/>
                  </a:lnTo>
                  <a:lnTo>
                    <a:pt x="1161598" y="414396"/>
                  </a:lnTo>
                  <a:lnTo>
                    <a:pt x="1145921" y="370935"/>
                  </a:lnTo>
                  <a:lnTo>
                    <a:pt x="1126760" y="328556"/>
                  </a:lnTo>
                  <a:lnTo>
                    <a:pt x="1104115" y="287476"/>
                  </a:lnTo>
                  <a:lnTo>
                    <a:pt x="1077986" y="247912"/>
                  </a:lnTo>
                  <a:lnTo>
                    <a:pt x="1048373" y="210079"/>
                  </a:lnTo>
                  <a:lnTo>
                    <a:pt x="1015276" y="174194"/>
                  </a:lnTo>
                  <a:lnTo>
                    <a:pt x="979391" y="141097"/>
                  </a:lnTo>
                  <a:lnTo>
                    <a:pt x="941558" y="111484"/>
                  </a:lnTo>
                  <a:lnTo>
                    <a:pt x="901993" y="85355"/>
                  </a:lnTo>
                  <a:lnTo>
                    <a:pt x="860913" y="62709"/>
                  </a:lnTo>
                  <a:lnTo>
                    <a:pt x="818534" y="43548"/>
                  </a:lnTo>
                  <a:lnTo>
                    <a:pt x="775073" y="27871"/>
                  </a:lnTo>
                  <a:lnTo>
                    <a:pt x="730746" y="15677"/>
                  </a:lnTo>
                  <a:lnTo>
                    <a:pt x="685770" y="6967"/>
                  </a:lnTo>
                  <a:lnTo>
                    <a:pt x="640360" y="1741"/>
                  </a:lnTo>
                  <a:lnTo>
                    <a:pt x="594735" y="0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rgbClr val="FF0F64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4" name="Shape 821"/>
            <p:cNvSpPr/>
            <p:nvPr/>
          </p:nvSpPr>
          <p:spPr>
            <a:xfrm rot="16200000" flipH="1">
              <a:off x="1452640" y="4934503"/>
              <a:ext cx="189241" cy="18468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</a:path>
              </a:pathLst>
            </a:custGeom>
            <a:ln w="6350">
              <a:solidFill>
                <a:srgbClr val="FF0F64"/>
              </a:solidFill>
              <a:miter lim="400000"/>
            </a:ln>
          </p:spPr>
          <p:txBody>
            <a:bodyPr lIns="35719" tIns="35719" rIns="35719" bIns="35719" anchor="ctr"/>
            <a:lstStyle/>
            <a:p>
              <a:pPr algn="ctr" defTabSz="410765" hangingPunct="0">
                <a:defRPr sz="2200"/>
              </a:pPr>
              <a:endParaRPr sz="1650" kern="0">
                <a:solidFill>
                  <a:srgbClr val="000000"/>
                </a:solidFill>
                <a:latin typeface="Helvetica Light"/>
                <a:sym typeface="Helvetica Light"/>
              </a:endParaRPr>
            </a:p>
          </p:txBody>
        </p:sp>
        <p:sp>
          <p:nvSpPr>
            <p:cNvPr id="95" name="CuadroTexto 94"/>
            <p:cNvSpPr txBox="1"/>
            <p:nvPr/>
          </p:nvSpPr>
          <p:spPr>
            <a:xfrm>
              <a:off x="1759105" y="4638589"/>
              <a:ext cx="3861296" cy="588623"/>
            </a:xfrm>
            <a:prstGeom prst="rect">
              <a:avLst/>
            </a:prstGeom>
            <a:noFill/>
            <a:ln w="3175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7625" tIns="47625" rIns="47625" bIns="47625" numCol="1" spcCol="38100" rtlCol="0" anchor="ctr">
              <a:spAutoFit/>
            </a:bodyPr>
            <a:lstStyle/>
            <a:p>
              <a:pPr marL="0" marR="0" indent="0" defTabSz="547687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s-ES" sz="1600" dirty="0" smtClean="0">
                  <a:solidFill>
                    <a:schemeClr val="bg1"/>
                  </a:solidFill>
                  <a:latin typeface="Univers LT Std 45 Light"/>
                  <a:sym typeface="Helvetica Light"/>
                </a:rPr>
                <a:t>Empresas de Recogida</a:t>
              </a:r>
            </a:p>
            <a:p>
              <a:pPr marL="0" marR="0" indent="0" defTabSz="547687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es-ES" sz="1600" dirty="0" smtClean="0">
                  <a:solidFill>
                    <a:schemeClr val="bg1"/>
                  </a:solidFill>
                  <a:latin typeface="Univers LT Std 45 Light"/>
                  <a:sym typeface="Helvetica Light"/>
                </a:rPr>
                <a:t>de Residuos</a:t>
              </a:r>
              <a:endParaRPr kumimoji="0" lang="es-ES" sz="1600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Univers LT Std 45 Light"/>
                <a:sym typeface="Helvetica Light"/>
              </a:endParaRPr>
            </a:p>
          </p:txBody>
        </p:sp>
        <p:pic>
          <p:nvPicPr>
            <p:cNvPr id="3074" name="Picture 2" descr="Resultado de imagen de icono taxi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786" r="35197" b="69955"/>
            <a:stretch/>
          </p:blipFill>
          <p:spPr bwMode="auto">
            <a:xfrm>
              <a:off x="700536" y="2429095"/>
              <a:ext cx="643980" cy="62678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88" name="Picture 16" descr="Resultado de imagen de icono autobus"/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8097"/>
            <a:stretch/>
          </p:blipFill>
          <p:spPr bwMode="auto">
            <a:xfrm>
              <a:off x="583575" y="3697918"/>
              <a:ext cx="766991" cy="4747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8" name="Rectángulo 87"/>
            <p:cNvSpPr/>
            <p:nvPr/>
          </p:nvSpPr>
          <p:spPr>
            <a:xfrm>
              <a:off x="292811" y="5670491"/>
              <a:ext cx="4914744" cy="807574"/>
            </a:xfrm>
            <a:prstGeom prst="rect">
              <a:avLst/>
            </a:prstGeom>
            <a:noFill/>
            <a:ln w="3175" cap="flat">
              <a:solidFill>
                <a:srgbClr val="FF0F64"/>
              </a:solidFill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7625" tIns="47625" rIns="47625" bIns="47625" numCol="1" spcCol="38100" rtlCol="0" anchor="ctr">
              <a:spAutoFit/>
            </a:bodyPr>
            <a:lstStyle/>
            <a:p>
              <a:pPr marL="0" marR="0" indent="0" algn="ctr" defTabSz="547687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s-ES" sz="2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  <p:pic>
          <p:nvPicPr>
            <p:cNvPr id="4098" name="Picture 2" descr="Resultado de imagen de icono camión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8000" y="1372760"/>
              <a:ext cx="699247" cy="6992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00" name="Picture 4" descr="Resultado de imagen de icono camión basura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5532" y="4688453"/>
              <a:ext cx="641922" cy="6419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5" name="Shape 816"/>
          <p:cNvSpPr/>
          <p:nvPr/>
        </p:nvSpPr>
        <p:spPr>
          <a:xfrm>
            <a:off x="169678" y="498319"/>
            <a:ext cx="11534642" cy="5346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25399" tIns="25399" rIns="25399" bIns="25399" anchor="ctr">
            <a:noAutofit/>
          </a:bodyPr>
          <a:lstStyle>
            <a:lvl1pPr algn="l" defTabSz="550332">
              <a:lnSpc>
                <a:spcPct val="90000"/>
              </a:lnSpc>
              <a:defRPr sz="5100">
                <a:solidFill>
                  <a:srgbClr val="FFFFFF"/>
                </a:solidFill>
                <a:latin typeface="Univers LT Std 45 Light"/>
                <a:ea typeface="Univers LT Std 45 Light"/>
                <a:cs typeface="Univers LT Std 45 Light"/>
                <a:sym typeface="Univers LT Std 45 Light"/>
              </a:defRPr>
            </a:lvl1pPr>
          </a:lstStyle>
          <a:p>
            <a:pPr defTabSz="412749" hangingPunct="0"/>
            <a:r>
              <a:rPr lang="es-ES" sz="3800" kern="0" dirty="0" smtClean="0"/>
              <a:t>Movilidad GNV- </a:t>
            </a:r>
            <a:r>
              <a:rPr lang="es-ES" sz="3800" kern="0" dirty="0" err="1" smtClean="0"/>
              <a:t>Gasineras</a:t>
            </a:r>
            <a:r>
              <a:rPr sz="3800" kern="0" dirty="0" smtClean="0"/>
              <a:t> GNV</a:t>
            </a:r>
            <a:r>
              <a:rPr lang="es-ES" sz="3800" kern="0" dirty="0" smtClean="0"/>
              <a:t> Endesa en España</a:t>
            </a:r>
            <a:endParaRPr sz="3800" kern="0" dirty="0"/>
          </a:p>
        </p:txBody>
      </p:sp>
      <p:pic>
        <p:nvPicPr>
          <p:cNvPr id="67" name="image5-small.png"/>
          <p:cNvPicPr>
            <a:picLocks noChangeAspect="1"/>
          </p:cNvPicPr>
          <p:nvPr/>
        </p:nvPicPr>
        <p:blipFill>
          <a:blip r:embed="rId10">
            <a:extLst/>
          </a:blip>
          <a:stretch>
            <a:fillRect/>
          </a:stretch>
        </p:blipFill>
        <p:spPr>
          <a:xfrm>
            <a:off x="10845899" y="6417900"/>
            <a:ext cx="1013543" cy="213301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511351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00" name="gast.jpg"/>
          <p:cNvPicPr>
            <a:picLocks noChangeAspect="1"/>
          </p:cNvPicPr>
          <p:nvPr/>
        </p:nvPicPr>
        <p:blipFill>
          <a:blip r:embed="rId2">
            <a:extLst/>
          </a:blip>
          <a:srcRect l="14378" t="20001" b="30488"/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2" name="Imagen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2" y="0"/>
            <a:ext cx="12192000" cy="6862451"/>
          </a:xfrm>
          <a:prstGeom prst="rect">
            <a:avLst/>
          </a:prstGeom>
        </p:spPr>
      </p:pic>
      <p:sp>
        <p:nvSpPr>
          <p:cNvPr id="815" name="Shape 815"/>
          <p:cNvSpPr/>
          <p:nvPr/>
        </p:nvSpPr>
        <p:spPr>
          <a:xfrm>
            <a:off x="-1" y="-1"/>
            <a:ext cx="56557" cy="1130301"/>
          </a:xfrm>
          <a:prstGeom prst="rect">
            <a:avLst/>
          </a:prstGeom>
          <a:solidFill>
            <a:srgbClr val="FF4F12"/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 algn="ctr" defTabSz="412749" hangingPunct="0">
              <a:defRPr sz="2400"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latin typeface="Helvetica Light"/>
              <a:sym typeface="Helvetica Light"/>
            </a:endParaRPr>
          </a:p>
        </p:txBody>
      </p:sp>
      <p:sp>
        <p:nvSpPr>
          <p:cNvPr id="816" name="Shape 816"/>
          <p:cNvSpPr/>
          <p:nvPr/>
        </p:nvSpPr>
        <p:spPr>
          <a:xfrm>
            <a:off x="169678" y="498319"/>
            <a:ext cx="10232035" cy="53466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25399" tIns="25399" rIns="25399" bIns="25399" anchor="ctr">
            <a:noAutofit/>
          </a:bodyPr>
          <a:lstStyle>
            <a:lvl1pPr algn="l" defTabSz="550332">
              <a:lnSpc>
                <a:spcPct val="90000"/>
              </a:lnSpc>
              <a:defRPr sz="5100">
                <a:solidFill>
                  <a:srgbClr val="FFFFFF"/>
                </a:solidFill>
                <a:latin typeface="Univers LT Std 45 Light"/>
                <a:ea typeface="Univers LT Std 45 Light"/>
                <a:cs typeface="Univers LT Std 45 Light"/>
                <a:sym typeface="Univers LT Std 45 Light"/>
              </a:defRPr>
            </a:lvl1pPr>
          </a:lstStyle>
          <a:p>
            <a:pPr defTabSz="412749" hangingPunct="0"/>
            <a:r>
              <a:rPr sz="3800" kern="0" dirty="0"/>
              <a:t>Propuesta de valor de Endesa en GNV</a:t>
            </a:r>
          </a:p>
        </p:txBody>
      </p:sp>
      <p:pic>
        <p:nvPicPr>
          <p:cNvPr id="817" name="image5-small.png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10845899" y="6417900"/>
            <a:ext cx="1013543" cy="213301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7" name="Agrupar 6"/>
          <p:cNvGrpSpPr/>
          <p:nvPr/>
        </p:nvGrpSpPr>
        <p:grpSpPr>
          <a:xfrm>
            <a:off x="868785" y="2328413"/>
            <a:ext cx="3323516" cy="3511914"/>
            <a:chOff x="1205044" y="3136276"/>
            <a:chExt cx="4431354" cy="4682552"/>
          </a:xfrm>
        </p:grpSpPr>
        <p:grpSp>
          <p:nvGrpSpPr>
            <p:cNvPr id="4" name="Agrupar 3"/>
            <p:cNvGrpSpPr/>
            <p:nvPr/>
          </p:nvGrpSpPr>
          <p:grpSpPr>
            <a:xfrm>
              <a:off x="1205044" y="3136276"/>
              <a:ext cx="4431354" cy="1328161"/>
              <a:chOff x="1205044" y="3136276"/>
              <a:chExt cx="4431354" cy="1328161"/>
            </a:xfrm>
          </p:grpSpPr>
          <p:sp>
            <p:nvSpPr>
              <p:cNvPr id="810" name="Shape 810"/>
              <p:cNvSpPr/>
              <p:nvPr/>
            </p:nvSpPr>
            <p:spPr>
              <a:xfrm>
                <a:off x="2951294" y="3276986"/>
                <a:ext cx="2685104" cy="118745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lIns="35719" tIns="35719" rIns="35719" bIns="35719">
                <a:normAutofit lnSpcReduction="10000"/>
              </a:bodyPr>
              <a:lstStyle/>
              <a:p>
                <a:pPr defTabSz="412750" hangingPunct="0">
                  <a:lnSpc>
                    <a:spcPct val="90000"/>
                  </a:lnSpc>
                  <a:defRPr sz="2000">
                    <a:solidFill>
                      <a:srgbClr val="FFFFFF"/>
                    </a:solidFill>
                    <a:latin typeface="Univers LT Std 45 Light"/>
                    <a:ea typeface="Univers LT Std 45 Light"/>
                    <a:cs typeface="Univers LT Std 45 Light"/>
                    <a:sym typeface="Univers LT Std 45 Light"/>
                  </a:defRPr>
                </a:pPr>
                <a:r>
                  <a:rPr sz="1500" kern="0" dirty="0" err="1">
                    <a:solidFill>
                      <a:srgbClr val="FFFFFF"/>
                    </a:solidFill>
                    <a:latin typeface="Univers LT Std 45 Light"/>
                    <a:sym typeface="Univers LT Std 45 Light"/>
                  </a:rPr>
                  <a:t>Posiciona</a:t>
                </a:r>
                <a:r>
                  <a:rPr sz="1500" kern="0" dirty="0">
                    <a:solidFill>
                      <a:srgbClr val="FFFFFF"/>
                    </a:solidFill>
                    <a:latin typeface="Univers LT Std 45 Light"/>
                    <a:sym typeface="Univers LT Std 45 Light"/>
                  </a:rPr>
                  <a:t> </a:t>
                </a:r>
                <a:r>
                  <a:rPr sz="1500" kern="0" dirty="0" err="1">
                    <a:solidFill>
                      <a:srgbClr val="FFFFFF"/>
                    </a:solidFill>
                    <a:latin typeface="Univers LT Std 45 Light"/>
                    <a:sym typeface="Univers LT Std 45 Light"/>
                  </a:rPr>
                  <a:t>su</a:t>
                </a:r>
                <a:r>
                  <a:rPr sz="1500" kern="0" dirty="0">
                    <a:solidFill>
                      <a:srgbClr val="FFFFFF"/>
                    </a:solidFill>
                    <a:latin typeface="Univers LT Std 45 Light"/>
                    <a:sym typeface="Univers LT Std 45 Light"/>
                  </a:rPr>
                  <a:t> </a:t>
                </a:r>
                <a:r>
                  <a:rPr sz="1500" kern="0" dirty="0" err="1">
                    <a:solidFill>
                      <a:srgbClr val="FFFFFF"/>
                    </a:solidFill>
                    <a:latin typeface="Univers LT Std 45 Light"/>
                    <a:sym typeface="Univers LT Std 45 Light"/>
                  </a:rPr>
                  <a:t>negocio</a:t>
                </a:r>
                <a:r>
                  <a:rPr sz="1500" kern="0" dirty="0">
                    <a:solidFill>
                      <a:srgbClr val="FFFFFF"/>
                    </a:solidFill>
                    <a:latin typeface="Univers LT Std 45 Light"/>
                    <a:sym typeface="Univers LT Std 45 Light"/>
                  </a:rPr>
                  <a:t> </a:t>
                </a:r>
                <a:r>
                  <a:rPr sz="1500" kern="0" dirty="0" err="1">
                    <a:solidFill>
                      <a:srgbClr val="FFFFFF"/>
                    </a:solidFill>
                    <a:latin typeface="Univers LT Std 45 Light"/>
                    <a:sym typeface="Univers LT Std 45 Light"/>
                  </a:rPr>
                  <a:t>como</a:t>
                </a:r>
                <a:r>
                  <a:rPr sz="1500" kern="0" dirty="0">
                    <a:solidFill>
                      <a:srgbClr val="FFFFFF"/>
                    </a:solidFill>
                    <a:latin typeface="Univers LT Std 45 Light"/>
                    <a:sym typeface="Univers LT Std 45 Light"/>
                  </a:rPr>
                  <a:t> </a:t>
                </a:r>
                <a:r>
                  <a:rPr sz="1500" kern="0" dirty="0" err="1">
                    <a:solidFill>
                      <a:srgbClr val="FFFFFF"/>
                    </a:solidFill>
                    <a:latin typeface="Univers LT Std 65 Bold"/>
                    <a:ea typeface="Univers LT Std 65 Bold"/>
                    <a:cs typeface="Univers LT Std 65 Bold"/>
                    <a:sym typeface="Univers LT Std 65 Bold"/>
                  </a:rPr>
                  <a:t>sostenible</a:t>
                </a:r>
                <a:r>
                  <a:rPr sz="1500" kern="0" dirty="0">
                    <a:solidFill>
                      <a:srgbClr val="FFFFFF"/>
                    </a:solidFill>
                    <a:latin typeface="Univers LT Std 65 Bold"/>
                    <a:ea typeface="Univers LT Std 65 Bold"/>
                    <a:cs typeface="Univers LT Std 65 Bold"/>
                    <a:sym typeface="Univers LT Std 65 Bold"/>
                  </a:rPr>
                  <a:t> y </a:t>
                </a:r>
                <a:r>
                  <a:rPr sz="1500" kern="0" dirty="0" err="1">
                    <a:solidFill>
                      <a:srgbClr val="FFFFFF"/>
                    </a:solidFill>
                    <a:latin typeface="Univers LT Std 65 Bold"/>
                    <a:ea typeface="Univers LT Std 65 Bold"/>
                    <a:cs typeface="Univers LT Std 65 Bold"/>
                    <a:sym typeface="Univers LT Std 65 Bold"/>
                  </a:rPr>
                  <a:t>responsable</a:t>
                </a:r>
                <a:r>
                  <a:rPr sz="1500" kern="0" dirty="0">
                    <a:solidFill>
                      <a:srgbClr val="FFFFFF"/>
                    </a:solidFill>
                    <a:latin typeface="Univers LT Std 45 Light"/>
                    <a:sym typeface="Univers LT Std 45 Light"/>
                  </a:rPr>
                  <a:t> con el </a:t>
                </a:r>
                <a:r>
                  <a:rPr sz="1500" kern="0" dirty="0" err="1">
                    <a:solidFill>
                      <a:srgbClr val="FFFFFF"/>
                    </a:solidFill>
                    <a:latin typeface="Univers LT Std 45 Light"/>
                    <a:sym typeface="Univers LT Std 45 Light"/>
                  </a:rPr>
                  <a:t>medioambiente</a:t>
                </a:r>
                <a:endParaRPr sz="1500" kern="0" dirty="0">
                  <a:solidFill>
                    <a:srgbClr val="FFFFFF"/>
                  </a:solidFill>
                  <a:latin typeface="Univers LT Std 45 Light"/>
                  <a:sym typeface="Univers LT Std 45 Light"/>
                </a:endParaRPr>
              </a:p>
            </p:txBody>
          </p:sp>
          <p:sp>
            <p:nvSpPr>
              <p:cNvPr id="811" name="Shape 811"/>
              <p:cNvSpPr/>
              <p:nvPr/>
            </p:nvSpPr>
            <p:spPr>
              <a:xfrm rot="16200000" flipH="1">
                <a:off x="2547770" y="3737222"/>
                <a:ext cx="252320" cy="24624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0" y="21600"/>
                    </a:lnTo>
                    <a:lnTo>
                      <a:pt x="21600" y="21600"/>
                    </a:lnTo>
                  </a:path>
                </a:pathLst>
              </a:custGeom>
              <a:ln w="6350">
                <a:solidFill>
                  <a:srgbClr val="FFFFFF"/>
                </a:solidFill>
                <a:miter lim="400000"/>
              </a:ln>
            </p:spPr>
            <p:txBody>
              <a:bodyPr lIns="35719" tIns="35719" rIns="35719" bIns="35719" anchor="ctr"/>
              <a:lstStyle/>
              <a:p>
                <a:pPr algn="ctr" defTabSz="410765" hangingPunct="0">
                  <a:defRPr sz="2200"/>
                </a:pPr>
                <a:endParaRPr sz="1650" kern="0">
                  <a:solidFill>
                    <a:srgbClr val="000000"/>
                  </a:solidFill>
                  <a:latin typeface="Helvetica Light"/>
                  <a:sym typeface="Helvetica Light"/>
                </a:endParaRPr>
              </a:p>
            </p:txBody>
          </p:sp>
          <p:grpSp>
            <p:nvGrpSpPr>
              <p:cNvPr id="814" name="Group 814"/>
              <p:cNvGrpSpPr/>
              <p:nvPr/>
            </p:nvGrpSpPr>
            <p:grpSpPr>
              <a:xfrm>
                <a:off x="1205044" y="3136276"/>
                <a:ext cx="1189471" cy="1189471"/>
                <a:chOff x="0" y="0"/>
                <a:chExt cx="1189470" cy="1189470"/>
              </a:xfrm>
            </p:grpSpPr>
            <p:sp>
              <p:nvSpPr>
                <p:cNvPr id="812" name="Shape 812"/>
                <p:cNvSpPr/>
                <p:nvPr/>
              </p:nvSpPr>
              <p:spPr>
                <a:xfrm>
                  <a:off x="0" y="0"/>
                  <a:ext cx="1189471" cy="1189471"/>
                </a:xfrm>
                <a:prstGeom prst="ellipse">
                  <a:avLst/>
                </a:prstGeom>
                <a:solidFill>
                  <a:srgbClr val="FFFFFF"/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25400" tIns="25400" rIns="25400" bIns="25400" numCol="1" anchor="ctr">
                  <a:noAutofit/>
                </a:bodyPr>
                <a:lstStyle/>
                <a:p>
                  <a:pPr algn="ctr" defTabSz="412749" hangingPunct="0">
                    <a:defRPr sz="2400">
                      <a:solidFill>
                        <a:srgbClr val="FFFFFF"/>
                      </a:solidFill>
                    </a:defRPr>
                  </a:pPr>
                  <a:endParaRPr kern="0">
                    <a:solidFill>
                      <a:srgbClr val="FFFFFF"/>
                    </a:solidFill>
                    <a:latin typeface="Helvetica Light"/>
                    <a:sym typeface="Helvetica Light"/>
                  </a:endParaRPr>
                </a:p>
              </p:txBody>
            </p:sp>
            <p:pic>
              <p:nvPicPr>
                <p:cNvPr id="813" name="pasted-image.pdf"/>
                <p:cNvPicPr>
                  <a:picLocks noChangeAspect="1"/>
                </p:cNvPicPr>
                <p:nvPr/>
              </p:nvPicPr>
              <p:blipFill>
                <a:blip r:embed="rId5">
                  <a:extLst/>
                </a:blip>
                <a:srcRect/>
                <a:stretch>
                  <a:fillRect/>
                </a:stretch>
              </p:blipFill>
              <p:spPr>
                <a:xfrm>
                  <a:off x="269922" y="230861"/>
                  <a:ext cx="649626" cy="664298"/>
                </a:xfrm>
                <a:prstGeom prst="rect">
                  <a:avLst/>
                </a:prstGeom>
                <a:ln w="12700" cap="flat">
                  <a:noFill/>
                  <a:miter lim="400000"/>
                </a:ln>
                <a:effectLst/>
              </p:spPr>
            </p:pic>
          </p:grpSp>
        </p:grpSp>
        <p:grpSp>
          <p:nvGrpSpPr>
            <p:cNvPr id="5" name="Agrupar 4"/>
            <p:cNvGrpSpPr/>
            <p:nvPr/>
          </p:nvGrpSpPr>
          <p:grpSpPr>
            <a:xfrm>
              <a:off x="1205044" y="4882816"/>
              <a:ext cx="4154985" cy="1189471"/>
              <a:chOff x="1205044" y="4882816"/>
              <a:chExt cx="4154985" cy="1189471"/>
            </a:xfrm>
          </p:grpSpPr>
          <p:sp>
            <p:nvSpPr>
              <p:cNvPr id="802" name="Shape 802"/>
              <p:cNvSpPr/>
              <p:nvPr/>
            </p:nvSpPr>
            <p:spPr>
              <a:xfrm>
                <a:off x="2951294" y="5023526"/>
                <a:ext cx="2408735" cy="90805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lIns="35719" tIns="35719" rIns="35719" bIns="35719" anchor="ctr">
                <a:normAutofit lnSpcReduction="10000"/>
              </a:bodyPr>
              <a:lstStyle/>
              <a:p>
                <a:pPr defTabSz="412750" hangingPunct="0">
                  <a:lnSpc>
                    <a:spcPct val="90000"/>
                  </a:lnSpc>
                  <a:defRPr sz="2000">
                    <a:solidFill>
                      <a:srgbClr val="FFFFFF"/>
                    </a:solidFill>
                    <a:latin typeface="Univers LT Std 45 Light"/>
                    <a:ea typeface="Univers LT Std 45 Light"/>
                    <a:cs typeface="Univers LT Std 45 Light"/>
                    <a:sym typeface="Univers LT Std 45 Light"/>
                  </a:defRPr>
                </a:pPr>
                <a:r>
                  <a:rPr sz="1500" kern="0">
                    <a:solidFill>
                      <a:srgbClr val="FFFFFF"/>
                    </a:solidFill>
                    <a:latin typeface="Univers LT Std 45 Light"/>
                    <a:sym typeface="Univers LT Std 45 Light"/>
                  </a:rPr>
                  <a:t>Aumenta su competitividad con </a:t>
                </a:r>
                <a:r>
                  <a:rPr sz="1500" kern="0">
                    <a:solidFill>
                      <a:srgbClr val="FFFFFF"/>
                    </a:solidFill>
                    <a:latin typeface="Univers LT Std 65 Bold"/>
                    <a:ea typeface="Univers LT Std 65 Bold"/>
                    <a:cs typeface="Univers LT Std 65 Bold"/>
                    <a:sym typeface="Univers LT Std 65 Bold"/>
                  </a:rPr>
                  <a:t>ahorro y eficiencia</a:t>
                </a:r>
              </a:p>
            </p:txBody>
          </p:sp>
          <p:grpSp>
            <p:nvGrpSpPr>
              <p:cNvPr id="805" name="Group 805"/>
              <p:cNvGrpSpPr/>
              <p:nvPr/>
            </p:nvGrpSpPr>
            <p:grpSpPr>
              <a:xfrm>
                <a:off x="1205044" y="4882816"/>
                <a:ext cx="1189471" cy="1189471"/>
                <a:chOff x="0" y="0"/>
                <a:chExt cx="1189470" cy="1189470"/>
              </a:xfrm>
            </p:grpSpPr>
            <p:sp>
              <p:nvSpPr>
                <p:cNvPr id="803" name="Shape 803"/>
                <p:cNvSpPr/>
                <p:nvPr/>
              </p:nvSpPr>
              <p:spPr>
                <a:xfrm>
                  <a:off x="0" y="0"/>
                  <a:ext cx="1189471" cy="1189471"/>
                </a:xfrm>
                <a:prstGeom prst="ellipse">
                  <a:avLst/>
                </a:prstGeom>
                <a:solidFill>
                  <a:srgbClr val="FFFFFF"/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25400" tIns="25400" rIns="25400" bIns="25400" numCol="1" anchor="ctr">
                  <a:noAutofit/>
                </a:bodyPr>
                <a:lstStyle/>
                <a:p>
                  <a:pPr algn="ctr" defTabSz="412749" hangingPunct="0">
                    <a:defRPr sz="2400">
                      <a:solidFill>
                        <a:srgbClr val="FFFFFF"/>
                      </a:solidFill>
                    </a:defRPr>
                  </a:pPr>
                  <a:endParaRPr kern="0">
                    <a:solidFill>
                      <a:srgbClr val="FFFFFF"/>
                    </a:solidFill>
                    <a:latin typeface="Helvetica Light"/>
                    <a:sym typeface="Helvetica Light"/>
                  </a:endParaRPr>
                </a:p>
              </p:txBody>
            </p:sp>
            <p:pic>
              <p:nvPicPr>
                <p:cNvPr id="804" name="pasted-image.pdf"/>
                <p:cNvPicPr>
                  <a:picLocks noChangeAspect="1"/>
                </p:cNvPicPr>
                <p:nvPr/>
              </p:nvPicPr>
              <p:blipFill>
                <a:blip r:embed="rId6">
                  <a:extLst/>
                </a:blip>
                <a:srcRect/>
                <a:stretch>
                  <a:fillRect/>
                </a:stretch>
              </p:blipFill>
              <p:spPr>
                <a:xfrm>
                  <a:off x="359418" y="193582"/>
                  <a:ext cx="470633" cy="738857"/>
                </a:xfrm>
                <a:prstGeom prst="rect">
                  <a:avLst/>
                </a:prstGeom>
                <a:ln w="12700" cap="flat">
                  <a:noFill/>
                  <a:miter lim="400000"/>
                </a:ln>
                <a:effectLst/>
              </p:spPr>
            </p:pic>
          </p:grpSp>
          <p:sp>
            <p:nvSpPr>
              <p:cNvPr id="820" name="Shape 820"/>
              <p:cNvSpPr/>
              <p:nvPr/>
            </p:nvSpPr>
            <p:spPr>
              <a:xfrm rot="16200000" flipH="1">
                <a:off x="2547769" y="5483762"/>
                <a:ext cx="252321" cy="24624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0" y="21600"/>
                    </a:lnTo>
                    <a:lnTo>
                      <a:pt x="21600" y="21600"/>
                    </a:lnTo>
                  </a:path>
                </a:pathLst>
              </a:custGeom>
              <a:ln w="6350">
                <a:solidFill>
                  <a:srgbClr val="FFFFFF"/>
                </a:solidFill>
                <a:miter lim="400000"/>
              </a:ln>
            </p:spPr>
            <p:txBody>
              <a:bodyPr lIns="35719" tIns="35719" rIns="35719" bIns="35719" anchor="ctr"/>
              <a:lstStyle/>
              <a:p>
                <a:pPr algn="ctr" defTabSz="410765" hangingPunct="0">
                  <a:defRPr sz="2200"/>
                </a:pPr>
                <a:endParaRPr sz="1650" kern="0">
                  <a:solidFill>
                    <a:srgbClr val="000000"/>
                  </a:solidFill>
                  <a:latin typeface="Helvetica Light"/>
                  <a:sym typeface="Helvetica Light"/>
                </a:endParaRPr>
              </a:p>
            </p:txBody>
          </p:sp>
        </p:grpSp>
        <p:grpSp>
          <p:nvGrpSpPr>
            <p:cNvPr id="6" name="Agrupar 5"/>
            <p:cNvGrpSpPr/>
            <p:nvPr/>
          </p:nvGrpSpPr>
          <p:grpSpPr>
            <a:xfrm>
              <a:off x="1205044" y="6629357"/>
              <a:ext cx="4431354" cy="1189471"/>
              <a:chOff x="1205044" y="6629357"/>
              <a:chExt cx="4431354" cy="1189471"/>
            </a:xfrm>
          </p:grpSpPr>
          <p:sp>
            <p:nvSpPr>
              <p:cNvPr id="806" name="Shape 806"/>
              <p:cNvSpPr/>
              <p:nvPr/>
            </p:nvSpPr>
            <p:spPr>
              <a:xfrm>
                <a:off x="2951294" y="6630367"/>
                <a:ext cx="2685104" cy="118745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lIns="35719" tIns="35719" rIns="35719" bIns="35719" anchor="ctr">
                <a:normAutofit lnSpcReduction="10000"/>
              </a:bodyPr>
              <a:lstStyle/>
              <a:p>
                <a:pPr defTabSz="412750" hangingPunct="0">
                  <a:lnSpc>
                    <a:spcPct val="90000"/>
                  </a:lnSpc>
                  <a:defRPr sz="2000">
                    <a:solidFill>
                      <a:srgbClr val="FFFFFF"/>
                    </a:solidFill>
                    <a:latin typeface="Univers LT Std 45 Light"/>
                    <a:ea typeface="Univers LT Std 45 Light"/>
                    <a:cs typeface="Univers LT Std 45 Light"/>
                    <a:sym typeface="Univers LT Std 45 Light"/>
                  </a:defRPr>
                </a:pPr>
                <a:r>
                  <a:rPr sz="1500" kern="0">
                    <a:solidFill>
                      <a:srgbClr val="FFFFFF"/>
                    </a:solidFill>
                    <a:latin typeface="Univers LT Std 65 Bold"/>
                    <a:ea typeface="Univers LT Std 65 Bold"/>
                    <a:cs typeface="Univers LT Std 65 Bold"/>
                    <a:sym typeface="Univers LT Std 65 Bold"/>
                  </a:rPr>
                  <a:t>Abastecer su flota propia de vehículos</a:t>
                </a:r>
                <a:r>
                  <a:rPr sz="1500" kern="0">
                    <a:solidFill>
                      <a:srgbClr val="FFFFFF"/>
                    </a:solidFill>
                    <a:latin typeface="Univers LT Std 45 Light"/>
                    <a:sym typeface="Univers LT Std 45 Light"/>
                  </a:rPr>
                  <a:t>, con posibilidad de apertura a terceros</a:t>
                </a:r>
              </a:p>
            </p:txBody>
          </p:sp>
          <p:grpSp>
            <p:nvGrpSpPr>
              <p:cNvPr id="809" name="Group 809"/>
              <p:cNvGrpSpPr/>
              <p:nvPr/>
            </p:nvGrpSpPr>
            <p:grpSpPr>
              <a:xfrm>
                <a:off x="1205044" y="6629357"/>
                <a:ext cx="1189471" cy="1189471"/>
                <a:chOff x="0" y="0"/>
                <a:chExt cx="1189470" cy="1189470"/>
              </a:xfrm>
            </p:grpSpPr>
            <p:sp>
              <p:nvSpPr>
                <p:cNvPr id="807" name="Shape 807"/>
                <p:cNvSpPr/>
                <p:nvPr/>
              </p:nvSpPr>
              <p:spPr>
                <a:xfrm>
                  <a:off x="0" y="0"/>
                  <a:ext cx="1189471" cy="1189471"/>
                </a:xfrm>
                <a:prstGeom prst="ellipse">
                  <a:avLst/>
                </a:prstGeom>
                <a:solidFill>
                  <a:srgbClr val="FFFFFF"/>
                </a:solidFill>
                <a:ln w="3175" cap="flat">
                  <a:noFill/>
                  <a:miter lim="400000"/>
                </a:ln>
                <a:effectLst/>
              </p:spPr>
              <p:txBody>
                <a:bodyPr wrap="square" lIns="25400" tIns="25400" rIns="25400" bIns="25400" numCol="1" anchor="ctr">
                  <a:noAutofit/>
                </a:bodyPr>
                <a:lstStyle/>
                <a:p>
                  <a:pPr algn="ctr" defTabSz="412749" hangingPunct="0">
                    <a:defRPr sz="2400">
                      <a:solidFill>
                        <a:srgbClr val="FFFFFF"/>
                      </a:solidFill>
                    </a:defRPr>
                  </a:pPr>
                  <a:endParaRPr kern="0">
                    <a:solidFill>
                      <a:srgbClr val="FFFFFF"/>
                    </a:solidFill>
                    <a:latin typeface="Helvetica Light"/>
                    <a:sym typeface="Helvetica Light"/>
                  </a:endParaRPr>
                </a:p>
              </p:txBody>
            </p:sp>
            <p:pic>
              <p:nvPicPr>
                <p:cNvPr id="808" name="pasted-image.pdf"/>
                <p:cNvPicPr>
                  <a:picLocks noChangeAspect="1"/>
                </p:cNvPicPr>
                <p:nvPr/>
              </p:nvPicPr>
              <p:blipFill>
                <a:blip r:embed="rId7">
                  <a:extLst/>
                </a:blip>
                <a:srcRect/>
                <a:stretch>
                  <a:fillRect/>
                </a:stretch>
              </p:blipFill>
              <p:spPr>
                <a:xfrm>
                  <a:off x="193141" y="316337"/>
                  <a:ext cx="803188" cy="493347"/>
                </a:xfrm>
                <a:prstGeom prst="rect">
                  <a:avLst/>
                </a:prstGeom>
                <a:ln w="12700" cap="flat">
                  <a:noFill/>
                  <a:miter lim="400000"/>
                </a:ln>
                <a:effectLst/>
              </p:spPr>
            </p:pic>
          </p:grpSp>
          <p:sp>
            <p:nvSpPr>
              <p:cNvPr id="821" name="Shape 821"/>
              <p:cNvSpPr/>
              <p:nvPr/>
            </p:nvSpPr>
            <p:spPr>
              <a:xfrm rot="16200000" flipH="1">
                <a:off x="2547769" y="7230303"/>
                <a:ext cx="252321" cy="24624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0" y="21600"/>
                    </a:lnTo>
                    <a:lnTo>
                      <a:pt x="21600" y="21600"/>
                    </a:lnTo>
                  </a:path>
                </a:pathLst>
              </a:custGeom>
              <a:ln w="6350">
                <a:solidFill>
                  <a:srgbClr val="FFFFFF"/>
                </a:solidFill>
                <a:miter lim="400000"/>
              </a:ln>
            </p:spPr>
            <p:txBody>
              <a:bodyPr lIns="35719" tIns="35719" rIns="35719" bIns="35719" anchor="ctr"/>
              <a:lstStyle/>
              <a:p>
                <a:pPr algn="ctr" defTabSz="410765" hangingPunct="0">
                  <a:defRPr sz="2200"/>
                </a:pPr>
                <a:endParaRPr sz="1650" kern="0">
                  <a:solidFill>
                    <a:srgbClr val="000000"/>
                  </a:solidFill>
                  <a:latin typeface="Helvetica Light"/>
                  <a:sym typeface="Helvetica Light"/>
                </a:endParaRPr>
              </a:p>
            </p:txBody>
          </p:sp>
        </p:grpSp>
      </p:grpSp>
      <p:grpSp>
        <p:nvGrpSpPr>
          <p:cNvPr id="9" name="Agrupar 8"/>
          <p:cNvGrpSpPr/>
          <p:nvPr/>
        </p:nvGrpSpPr>
        <p:grpSpPr>
          <a:xfrm>
            <a:off x="4937248" y="1777761"/>
            <a:ext cx="6255719" cy="267192"/>
            <a:chOff x="6582998" y="2370350"/>
            <a:chExt cx="8340958" cy="356256"/>
          </a:xfrm>
        </p:grpSpPr>
        <p:sp>
          <p:nvSpPr>
            <p:cNvPr id="832" name="Shape 832"/>
            <p:cNvSpPr/>
            <p:nvPr/>
          </p:nvSpPr>
          <p:spPr>
            <a:xfrm>
              <a:off x="6582998" y="2370350"/>
              <a:ext cx="7642867" cy="34548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35719" tIns="35719" rIns="35719" bIns="35719" anchor="ctr">
              <a:spAutoFit/>
            </a:bodyPr>
            <a:lstStyle>
              <a:lvl1pPr algn="l" defTabSz="550333">
                <a:lnSpc>
                  <a:spcPct val="90000"/>
                </a:lnSpc>
                <a:defRPr sz="1800">
                  <a:solidFill>
                    <a:srgbClr val="FF8027"/>
                  </a:solidFill>
                  <a:latin typeface="Univers LT Std 45 Light"/>
                  <a:ea typeface="Univers LT Std 45 Light"/>
                  <a:cs typeface="Univers LT Std 45 Light"/>
                  <a:sym typeface="Univers LT Std 45 Light"/>
                </a:defRPr>
              </a:lvl1pPr>
            </a:lstStyle>
            <a:p>
              <a:pPr defTabSz="412750" hangingPunct="0"/>
              <a:r>
                <a:rPr sz="1350" kern="0"/>
                <a:t>PROPUESTA DE VALOR DE ENDESA EN MOVILIDAD CON GAS</a:t>
              </a:r>
            </a:p>
          </p:txBody>
        </p:sp>
        <p:sp>
          <p:nvSpPr>
            <p:cNvPr id="846" name="Shape 846"/>
            <p:cNvSpPr/>
            <p:nvPr/>
          </p:nvSpPr>
          <p:spPr>
            <a:xfrm>
              <a:off x="6582998" y="2726605"/>
              <a:ext cx="8340958" cy="1"/>
            </a:xfrm>
            <a:prstGeom prst="line">
              <a:avLst/>
            </a:prstGeom>
            <a:ln w="6350">
              <a:solidFill>
                <a:srgbClr val="FF8027"/>
              </a:solidFill>
            </a:ln>
          </p:spPr>
          <p:txBody>
            <a:bodyPr lIns="34289" tIns="34289" rIns="34289" bIns="34289"/>
            <a:lstStyle/>
            <a:p>
              <a:pPr algn="ctr" defTabSz="410765" hangingPunct="0"/>
              <a:endParaRPr sz="2400" kern="0">
                <a:solidFill>
                  <a:srgbClr val="000000"/>
                </a:solidFill>
                <a:latin typeface="Helvetica Light"/>
                <a:sym typeface="Helvetica Light"/>
              </a:endParaRPr>
            </a:p>
          </p:txBody>
        </p:sp>
      </p:grpSp>
      <p:grpSp>
        <p:nvGrpSpPr>
          <p:cNvPr id="3" name="Agrupar 2"/>
          <p:cNvGrpSpPr/>
          <p:nvPr/>
        </p:nvGrpSpPr>
        <p:grpSpPr>
          <a:xfrm>
            <a:off x="903783" y="1777761"/>
            <a:ext cx="3116240" cy="267192"/>
            <a:chOff x="1205044" y="2370350"/>
            <a:chExt cx="4154986" cy="356256"/>
          </a:xfrm>
        </p:grpSpPr>
        <p:sp>
          <p:nvSpPr>
            <p:cNvPr id="818" name="Shape 818"/>
            <p:cNvSpPr/>
            <p:nvPr/>
          </p:nvSpPr>
          <p:spPr>
            <a:xfrm>
              <a:off x="1205044" y="2370350"/>
              <a:ext cx="3953611" cy="34548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35719" tIns="35719" rIns="35719" bIns="35719" anchor="ctr">
              <a:spAutoFit/>
            </a:bodyPr>
            <a:lstStyle>
              <a:lvl1pPr algn="l" defTabSz="550333">
                <a:lnSpc>
                  <a:spcPct val="90000"/>
                </a:lnSpc>
                <a:defRPr sz="1800">
                  <a:solidFill>
                    <a:srgbClr val="FF8027"/>
                  </a:solidFill>
                  <a:latin typeface="Univers LT Std 45 Light"/>
                  <a:ea typeface="Univers LT Std 45 Light"/>
                  <a:cs typeface="Univers LT Std 45 Light"/>
                  <a:sym typeface="Univers LT Std 45 Light"/>
                </a:defRPr>
              </a:lvl1pPr>
            </a:lstStyle>
            <a:p>
              <a:pPr defTabSz="412750" hangingPunct="0"/>
              <a:r>
                <a:rPr sz="1350" kern="0"/>
                <a:t>BENEFICIOS PARA EL CLIENTE</a:t>
              </a:r>
            </a:p>
          </p:txBody>
        </p:sp>
        <p:sp>
          <p:nvSpPr>
            <p:cNvPr id="847" name="Shape 847"/>
            <p:cNvSpPr/>
            <p:nvPr/>
          </p:nvSpPr>
          <p:spPr>
            <a:xfrm>
              <a:off x="1205044" y="2726605"/>
              <a:ext cx="4154986" cy="1"/>
            </a:xfrm>
            <a:prstGeom prst="line">
              <a:avLst/>
            </a:prstGeom>
            <a:ln w="6350">
              <a:solidFill>
                <a:srgbClr val="FF8027"/>
              </a:solidFill>
            </a:ln>
          </p:spPr>
          <p:txBody>
            <a:bodyPr lIns="34289" tIns="34289" rIns="34289" bIns="34289"/>
            <a:lstStyle/>
            <a:p>
              <a:pPr algn="ctr" defTabSz="410765" hangingPunct="0"/>
              <a:endParaRPr sz="2400" kern="0">
                <a:solidFill>
                  <a:srgbClr val="000000"/>
                </a:solidFill>
                <a:latin typeface="Helvetica Light"/>
                <a:sym typeface="Helvetica Light"/>
              </a:endParaRPr>
            </a:p>
          </p:txBody>
        </p:sp>
      </p:grpSp>
      <p:grpSp>
        <p:nvGrpSpPr>
          <p:cNvPr id="8" name="Agrupar 7"/>
          <p:cNvGrpSpPr/>
          <p:nvPr/>
        </p:nvGrpSpPr>
        <p:grpSpPr>
          <a:xfrm>
            <a:off x="4937248" y="2352207"/>
            <a:ext cx="6255719" cy="3512672"/>
            <a:chOff x="6582998" y="3136276"/>
            <a:chExt cx="8340958" cy="4683562"/>
          </a:xfrm>
        </p:grpSpPr>
        <p:sp>
          <p:nvSpPr>
            <p:cNvPr id="819" name="Shape 819"/>
            <p:cNvSpPr/>
            <p:nvPr/>
          </p:nvSpPr>
          <p:spPr>
            <a:xfrm>
              <a:off x="12844408" y="5152462"/>
              <a:ext cx="2079548" cy="65017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35719" tIns="35719" rIns="35719" bIns="35719" anchor="ctr">
              <a:spAutoFit/>
            </a:bodyPr>
            <a:lstStyle/>
            <a:p>
              <a:pPr defTabSz="412750" hangingPunct="0">
                <a:lnSpc>
                  <a:spcPct val="90000"/>
                </a:lnSpc>
                <a:defRPr sz="2000">
                  <a:solidFill>
                    <a:srgbClr val="FFFFFF"/>
                  </a:solidFill>
                  <a:latin typeface="Univers LT Std 45 Light"/>
                  <a:ea typeface="Univers LT Std 45 Light"/>
                  <a:cs typeface="Univers LT Std 45 Light"/>
                  <a:sym typeface="Univers LT Std 45 Light"/>
                </a:defRPr>
              </a:pPr>
              <a:r>
                <a:rPr sz="1500" kern="0">
                  <a:solidFill>
                    <a:srgbClr val="FFFFFF"/>
                  </a:solidFill>
                  <a:latin typeface="Univers LT Std 65 Bold"/>
                  <a:ea typeface="Univers LT Std 65 Bold"/>
                  <a:cs typeface="Univers LT Std 65 Bold"/>
                  <a:sym typeface="Univers LT Std 65 Bold"/>
                </a:rPr>
                <a:t>Mantenimiento</a:t>
              </a:r>
              <a:r>
                <a:rPr sz="1500" kern="0">
                  <a:solidFill>
                    <a:srgbClr val="FFFFFF"/>
                  </a:solidFill>
                  <a:latin typeface="Univers LT Std 45 Light"/>
                  <a:sym typeface="Univers LT Std 45 Light"/>
                </a:rPr>
                <a:t> y explotación</a:t>
              </a:r>
            </a:p>
          </p:txBody>
        </p:sp>
        <p:sp>
          <p:nvSpPr>
            <p:cNvPr id="822" name="Shape 822"/>
            <p:cNvSpPr/>
            <p:nvPr/>
          </p:nvSpPr>
          <p:spPr>
            <a:xfrm>
              <a:off x="8329249" y="3137286"/>
              <a:ext cx="2287342" cy="118745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35719" tIns="35719" rIns="35719" bIns="35719" anchor="ctr">
              <a:normAutofit fontScale="92500"/>
            </a:bodyPr>
            <a:lstStyle/>
            <a:p>
              <a:pPr defTabSz="412750" hangingPunct="0">
                <a:lnSpc>
                  <a:spcPct val="90000"/>
                </a:lnSpc>
                <a:defRPr sz="2000">
                  <a:solidFill>
                    <a:srgbClr val="FFFFFF"/>
                  </a:solidFill>
                  <a:latin typeface="Univers LT Std 45 Light"/>
                  <a:ea typeface="Univers LT Std 45 Light"/>
                  <a:cs typeface="Univers LT Std 45 Light"/>
                  <a:sym typeface="Univers LT Std 45 Light"/>
                </a:defRPr>
              </a:pPr>
              <a:r>
                <a:rPr sz="1500" kern="0">
                  <a:solidFill>
                    <a:srgbClr val="FFFFFF"/>
                  </a:solidFill>
                  <a:latin typeface="Univers LT Std 45 Light"/>
                  <a:sym typeface="Univers LT Std 45 Light"/>
                </a:rPr>
                <a:t>Análisis de las </a:t>
              </a:r>
              <a:r>
                <a:rPr sz="1500" kern="0">
                  <a:solidFill>
                    <a:srgbClr val="FFFFFF"/>
                  </a:solidFill>
                  <a:latin typeface="Univers LT Std 65 Bold"/>
                  <a:ea typeface="Univers LT Std 65 Bold"/>
                  <a:cs typeface="Univers LT Std 65 Bold"/>
                  <a:sym typeface="Univers LT Std 65 Bold"/>
                </a:rPr>
                <a:t>necesidades del cliente</a:t>
              </a:r>
              <a:r>
                <a:rPr sz="1500" kern="0">
                  <a:solidFill>
                    <a:srgbClr val="FFFFFF"/>
                  </a:solidFill>
                  <a:latin typeface="Univers LT Std 45 Light"/>
                  <a:sym typeface="Univers LT Std 45 Light"/>
                </a:rPr>
                <a:t> y diseño proyecto gasolinera</a:t>
              </a:r>
            </a:p>
          </p:txBody>
        </p:sp>
        <p:sp>
          <p:nvSpPr>
            <p:cNvPr id="823" name="Shape 823"/>
            <p:cNvSpPr/>
            <p:nvPr/>
          </p:nvSpPr>
          <p:spPr>
            <a:xfrm rot="16200000" flipH="1">
              <a:off x="7925724" y="3737222"/>
              <a:ext cx="252321" cy="24624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</a:path>
              </a:pathLst>
            </a:custGeom>
            <a:ln w="6350">
              <a:solidFill>
                <a:srgbClr val="FFFFFF"/>
              </a:solidFill>
              <a:miter lim="400000"/>
            </a:ln>
          </p:spPr>
          <p:txBody>
            <a:bodyPr lIns="35719" tIns="35719" rIns="35719" bIns="35719" anchor="ctr"/>
            <a:lstStyle/>
            <a:p>
              <a:pPr algn="ctr" defTabSz="410765" hangingPunct="0">
                <a:defRPr sz="2200"/>
              </a:pPr>
              <a:endParaRPr sz="1650" kern="0">
                <a:solidFill>
                  <a:srgbClr val="000000"/>
                </a:solidFill>
                <a:latin typeface="Helvetica Light"/>
                <a:sym typeface="Helvetica Light"/>
              </a:endParaRPr>
            </a:p>
          </p:txBody>
        </p:sp>
        <p:sp>
          <p:nvSpPr>
            <p:cNvPr id="824" name="Shape 824"/>
            <p:cNvSpPr/>
            <p:nvPr/>
          </p:nvSpPr>
          <p:spPr>
            <a:xfrm>
              <a:off x="6582998" y="3136276"/>
              <a:ext cx="1189471" cy="1189471"/>
            </a:xfrm>
            <a:prstGeom prst="ellipse">
              <a:avLst/>
            </a:prstGeom>
            <a:solidFill>
              <a:srgbClr val="FFFFFF"/>
            </a:solidFill>
            <a:ln w="3175">
              <a:miter lim="400000"/>
            </a:ln>
          </p:spPr>
          <p:txBody>
            <a:bodyPr lIns="25400" tIns="25400" rIns="25400" bIns="25400" anchor="ctr"/>
            <a:lstStyle/>
            <a:p>
              <a:pPr algn="ctr" defTabSz="412749" hangingPunct="0">
                <a:defRPr sz="2400">
                  <a:solidFill>
                    <a:srgbClr val="FFFFFF"/>
                  </a:solidFill>
                </a:defRPr>
              </a:pPr>
              <a:endParaRPr kern="0">
                <a:solidFill>
                  <a:srgbClr val="FFFFFF"/>
                </a:solidFill>
                <a:latin typeface="Helvetica Light"/>
                <a:sym typeface="Helvetica Light"/>
              </a:endParaRPr>
            </a:p>
          </p:txBody>
        </p:sp>
        <p:sp>
          <p:nvSpPr>
            <p:cNvPr id="825" name="Shape 825"/>
            <p:cNvSpPr/>
            <p:nvPr/>
          </p:nvSpPr>
          <p:spPr>
            <a:xfrm rot="16200000" flipH="1">
              <a:off x="7925724" y="5483762"/>
              <a:ext cx="252321" cy="2462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</a:path>
              </a:pathLst>
            </a:custGeom>
            <a:ln w="6350">
              <a:solidFill>
                <a:srgbClr val="FFFFFF"/>
              </a:solidFill>
              <a:miter lim="400000"/>
            </a:ln>
          </p:spPr>
          <p:txBody>
            <a:bodyPr lIns="35719" tIns="35719" rIns="35719" bIns="35719" anchor="ctr"/>
            <a:lstStyle/>
            <a:p>
              <a:pPr algn="ctr" defTabSz="410765" hangingPunct="0">
                <a:defRPr sz="2200"/>
              </a:pPr>
              <a:endParaRPr sz="1650" kern="0">
                <a:solidFill>
                  <a:srgbClr val="000000"/>
                </a:solidFill>
                <a:latin typeface="Helvetica Light"/>
                <a:sym typeface="Helvetica Light"/>
              </a:endParaRPr>
            </a:p>
          </p:txBody>
        </p:sp>
        <p:sp>
          <p:nvSpPr>
            <p:cNvPr id="826" name="Shape 826"/>
            <p:cNvSpPr/>
            <p:nvPr/>
          </p:nvSpPr>
          <p:spPr>
            <a:xfrm rot="16200000" flipH="1">
              <a:off x="7925724" y="7230303"/>
              <a:ext cx="252321" cy="24624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</a:path>
              </a:pathLst>
            </a:custGeom>
            <a:ln w="6350">
              <a:solidFill>
                <a:srgbClr val="FFFFFF"/>
              </a:solidFill>
              <a:miter lim="400000"/>
            </a:ln>
          </p:spPr>
          <p:txBody>
            <a:bodyPr lIns="35719" tIns="35719" rIns="35719" bIns="35719" anchor="ctr"/>
            <a:lstStyle/>
            <a:p>
              <a:pPr algn="ctr" defTabSz="410765" hangingPunct="0">
                <a:defRPr sz="2200"/>
              </a:pPr>
              <a:endParaRPr sz="1650" kern="0">
                <a:solidFill>
                  <a:srgbClr val="000000"/>
                </a:solidFill>
                <a:latin typeface="Helvetica Light"/>
                <a:sym typeface="Helvetica Light"/>
              </a:endParaRPr>
            </a:p>
          </p:txBody>
        </p:sp>
        <p:sp>
          <p:nvSpPr>
            <p:cNvPr id="827" name="Shape 827"/>
            <p:cNvSpPr/>
            <p:nvPr/>
          </p:nvSpPr>
          <p:spPr>
            <a:xfrm>
              <a:off x="11046370" y="4882816"/>
              <a:ext cx="1189471" cy="1189471"/>
            </a:xfrm>
            <a:prstGeom prst="ellipse">
              <a:avLst/>
            </a:prstGeom>
            <a:solidFill>
              <a:srgbClr val="FFFFFF"/>
            </a:solidFill>
            <a:ln w="3175">
              <a:miter lim="400000"/>
            </a:ln>
          </p:spPr>
          <p:txBody>
            <a:bodyPr lIns="25400" tIns="25400" rIns="25400" bIns="25400" anchor="ctr"/>
            <a:lstStyle/>
            <a:p>
              <a:pPr algn="ctr" defTabSz="412749" hangingPunct="0">
                <a:defRPr sz="2400">
                  <a:solidFill>
                    <a:srgbClr val="FFFFFF"/>
                  </a:solidFill>
                </a:defRPr>
              </a:pPr>
              <a:endParaRPr kern="0">
                <a:solidFill>
                  <a:srgbClr val="FFFFFF"/>
                </a:solidFill>
                <a:latin typeface="Helvetica Light"/>
                <a:sym typeface="Helvetica Light"/>
              </a:endParaRPr>
            </a:p>
          </p:txBody>
        </p:sp>
        <p:sp>
          <p:nvSpPr>
            <p:cNvPr id="828" name="Shape 828"/>
            <p:cNvSpPr/>
            <p:nvPr/>
          </p:nvSpPr>
          <p:spPr>
            <a:xfrm rot="16200000" flipH="1">
              <a:off x="12389096" y="3737222"/>
              <a:ext cx="252320" cy="24624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</a:path>
              </a:pathLst>
            </a:custGeom>
            <a:ln w="6350">
              <a:solidFill>
                <a:srgbClr val="FFFFFF"/>
              </a:solidFill>
              <a:miter lim="400000"/>
            </a:ln>
          </p:spPr>
          <p:txBody>
            <a:bodyPr lIns="35719" tIns="35719" rIns="35719" bIns="35719" anchor="ctr"/>
            <a:lstStyle/>
            <a:p>
              <a:pPr algn="ctr" defTabSz="410765" hangingPunct="0">
                <a:defRPr sz="2200"/>
              </a:pPr>
              <a:endParaRPr sz="1650" kern="0">
                <a:solidFill>
                  <a:srgbClr val="000000"/>
                </a:solidFill>
                <a:latin typeface="Helvetica Light"/>
                <a:sym typeface="Helvetica Light"/>
              </a:endParaRPr>
            </a:p>
          </p:txBody>
        </p:sp>
        <p:sp>
          <p:nvSpPr>
            <p:cNvPr id="829" name="Shape 829"/>
            <p:cNvSpPr/>
            <p:nvPr/>
          </p:nvSpPr>
          <p:spPr>
            <a:xfrm>
              <a:off x="11046370" y="3136276"/>
              <a:ext cx="1189471" cy="1189471"/>
            </a:xfrm>
            <a:prstGeom prst="ellipse">
              <a:avLst/>
            </a:prstGeom>
            <a:solidFill>
              <a:srgbClr val="FFFFFF"/>
            </a:solidFill>
            <a:ln w="3175">
              <a:miter lim="400000"/>
            </a:ln>
          </p:spPr>
          <p:txBody>
            <a:bodyPr lIns="25400" tIns="25400" rIns="25400" bIns="25400" anchor="ctr"/>
            <a:lstStyle/>
            <a:p>
              <a:pPr algn="ctr" defTabSz="412749" hangingPunct="0">
                <a:defRPr sz="2400">
                  <a:solidFill>
                    <a:srgbClr val="FFFFFF"/>
                  </a:solidFill>
                </a:defRPr>
              </a:pPr>
              <a:endParaRPr kern="0">
                <a:solidFill>
                  <a:srgbClr val="FFFFFF"/>
                </a:solidFill>
                <a:latin typeface="Helvetica Light"/>
                <a:sym typeface="Helvetica Light"/>
              </a:endParaRPr>
            </a:p>
          </p:txBody>
        </p:sp>
        <p:sp>
          <p:nvSpPr>
            <p:cNvPr id="830" name="Shape 830"/>
            <p:cNvSpPr/>
            <p:nvPr/>
          </p:nvSpPr>
          <p:spPr>
            <a:xfrm rot="16200000" flipH="1">
              <a:off x="12389096" y="5483762"/>
              <a:ext cx="252320" cy="2462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</a:path>
              </a:pathLst>
            </a:custGeom>
            <a:ln w="6350">
              <a:solidFill>
                <a:srgbClr val="FFFFFF"/>
              </a:solidFill>
              <a:miter lim="400000"/>
            </a:ln>
          </p:spPr>
          <p:txBody>
            <a:bodyPr lIns="35719" tIns="35719" rIns="35719" bIns="35719" anchor="ctr"/>
            <a:lstStyle/>
            <a:p>
              <a:pPr algn="ctr" defTabSz="410765" hangingPunct="0">
                <a:defRPr sz="2200"/>
              </a:pPr>
              <a:endParaRPr sz="1650" kern="0">
                <a:solidFill>
                  <a:srgbClr val="000000"/>
                </a:solidFill>
                <a:latin typeface="Helvetica Light"/>
                <a:sym typeface="Helvetica Light"/>
              </a:endParaRPr>
            </a:p>
          </p:txBody>
        </p:sp>
        <p:sp>
          <p:nvSpPr>
            <p:cNvPr id="831" name="Shape 831"/>
            <p:cNvSpPr/>
            <p:nvPr/>
          </p:nvSpPr>
          <p:spPr>
            <a:xfrm rot="16200000" flipH="1">
              <a:off x="12389096" y="7230303"/>
              <a:ext cx="252320" cy="24624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</a:path>
              </a:pathLst>
            </a:custGeom>
            <a:ln w="6350">
              <a:solidFill>
                <a:srgbClr val="FFFFFF"/>
              </a:solidFill>
              <a:miter lim="400000"/>
            </a:ln>
          </p:spPr>
          <p:txBody>
            <a:bodyPr lIns="35719" tIns="35719" rIns="35719" bIns="35719" anchor="ctr"/>
            <a:lstStyle/>
            <a:p>
              <a:pPr algn="ctr" defTabSz="410765" hangingPunct="0">
                <a:defRPr sz="2200"/>
              </a:pPr>
              <a:endParaRPr sz="1650" kern="0">
                <a:solidFill>
                  <a:srgbClr val="000000"/>
                </a:solidFill>
                <a:latin typeface="Helvetica Light"/>
                <a:sym typeface="Helvetica Light"/>
              </a:endParaRPr>
            </a:p>
          </p:txBody>
        </p:sp>
        <p:sp>
          <p:nvSpPr>
            <p:cNvPr id="833" name="Shape 833"/>
            <p:cNvSpPr/>
            <p:nvPr/>
          </p:nvSpPr>
          <p:spPr>
            <a:xfrm>
              <a:off x="12844408" y="3267423"/>
              <a:ext cx="2079548" cy="927177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35719" tIns="35719" rIns="35719" bIns="35719" anchor="ctr">
              <a:spAutoFit/>
            </a:bodyPr>
            <a:lstStyle/>
            <a:p>
              <a:pPr defTabSz="412750" hangingPunct="0">
                <a:lnSpc>
                  <a:spcPct val="90000"/>
                </a:lnSpc>
                <a:defRPr sz="2000">
                  <a:solidFill>
                    <a:srgbClr val="FFFFFF"/>
                  </a:solidFill>
                  <a:latin typeface="Univers LT Std 45 Light"/>
                  <a:ea typeface="Univers LT Std 45 Light"/>
                  <a:cs typeface="Univers LT Std 45 Light"/>
                  <a:sym typeface="Univers LT Std 45 Light"/>
                </a:defRPr>
              </a:pPr>
              <a:r>
                <a:rPr sz="1500" kern="0">
                  <a:solidFill>
                    <a:srgbClr val="FFFFFF"/>
                  </a:solidFill>
                  <a:latin typeface="Univers LT Std 65 Bold"/>
                  <a:ea typeface="Univers LT Std 65 Bold"/>
                  <a:cs typeface="Univers LT Std 65 Bold"/>
                  <a:sym typeface="Univers LT Std 65 Bold"/>
                </a:rPr>
                <a:t>Ejecución</a:t>
              </a:r>
              <a:r>
                <a:rPr sz="1500" kern="0">
                  <a:solidFill>
                    <a:srgbClr val="FFFFFF"/>
                  </a:solidFill>
                  <a:latin typeface="Univers LT Std 45 Light"/>
                  <a:sym typeface="Univers LT Std 45 Light"/>
                </a:rPr>
                <a:t> de la obra y puesta en marcha</a:t>
              </a:r>
            </a:p>
          </p:txBody>
        </p:sp>
        <p:sp>
          <p:nvSpPr>
            <p:cNvPr id="834" name="Shape 834"/>
            <p:cNvSpPr/>
            <p:nvPr/>
          </p:nvSpPr>
          <p:spPr>
            <a:xfrm>
              <a:off x="8329249" y="5163227"/>
              <a:ext cx="2245547" cy="628650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35719" tIns="35719" rIns="35719" bIns="35719">
              <a:normAutofit lnSpcReduction="10000"/>
            </a:bodyPr>
            <a:lstStyle/>
            <a:p>
              <a:pPr defTabSz="412750" hangingPunct="0">
                <a:lnSpc>
                  <a:spcPct val="90000"/>
                </a:lnSpc>
                <a:defRPr sz="2000">
                  <a:solidFill>
                    <a:srgbClr val="FFFFFF"/>
                  </a:solidFill>
                  <a:latin typeface="Univers LT Std 45 Light"/>
                  <a:ea typeface="Univers LT Std 45 Light"/>
                  <a:cs typeface="Univers LT Std 45 Light"/>
                  <a:sym typeface="Univers LT Std 45 Light"/>
                </a:defRPr>
              </a:pPr>
              <a:r>
                <a:rPr sz="1500" kern="0">
                  <a:solidFill>
                    <a:srgbClr val="FFFFFF"/>
                  </a:solidFill>
                  <a:latin typeface="Univers LT Std 45 Light"/>
                  <a:sym typeface="Univers LT Std 45 Light"/>
                </a:rPr>
                <a:t>Suministro de </a:t>
              </a:r>
              <a:r>
                <a:rPr sz="1500" kern="0">
                  <a:solidFill>
                    <a:srgbClr val="FFFFFF"/>
                  </a:solidFill>
                  <a:latin typeface="Univers LT Std 65 Bold"/>
                  <a:ea typeface="Univers LT Std 65 Bold"/>
                  <a:cs typeface="Univers LT Std 65 Bold"/>
                  <a:sym typeface="Univers LT Std 65 Bold"/>
                </a:rPr>
                <a:t>gas</a:t>
              </a:r>
              <a:r>
                <a:rPr sz="1500" kern="0">
                  <a:solidFill>
                    <a:srgbClr val="FFFFFF"/>
                  </a:solidFill>
                  <a:latin typeface="Univers LT Std 45 Light"/>
                  <a:sym typeface="Univers LT Std 45 Light"/>
                </a:rPr>
                <a:t> y </a:t>
              </a:r>
              <a:r>
                <a:rPr sz="1500" kern="0">
                  <a:solidFill>
                    <a:srgbClr val="FFFFFF"/>
                  </a:solidFill>
                  <a:latin typeface="Univers LT Std 65 Bold"/>
                  <a:ea typeface="Univers LT Std 65 Bold"/>
                  <a:cs typeface="Univers LT Std 65 Bold"/>
                  <a:sym typeface="Univers LT Std 65 Bold"/>
                </a:rPr>
                <a:t>electricidad</a:t>
              </a:r>
            </a:p>
          </p:txBody>
        </p:sp>
        <p:sp>
          <p:nvSpPr>
            <p:cNvPr id="835" name="Shape 835"/>
            <p:cNvSpPr/>
            <p:nvPr/>
          </p:nvSpPr>
          <p:spPr>
            <a:xfrm>
              <a:off x="8386000" y="6893962"/>
              <a:ext cx="2332487" cy="62865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35719" tIns="35719" rIns="35719" bIns="35719" anchor="ctr">
              <a:normAutofit lnSpcReduction="10000"/>
            </a:bodyPr>
            <a:lstStyle>
              <a:lvl1pPr algn="l" defTabSz="550333">
                <a:lnSpc>
                  <a:spcPct val="90000"/>
                </a:lnSpc>
                <a:defRPr sz="2000">
                  <a:solidFill>
                    <a:srgbClr val="FFFFFF"/>
                  </a:solidFill>
                  <a:latin typeface="Univers LT Std 45 Light"/>
                  <a:ea typeface="Univers LT Std 45 Light"/>
                  <a:cs typeface="Univers LT Std 45 Light"/>
                  <a:sym typeface="Univers LT Std 45 Light"/>
                </a:defRPr>
              </a:lvl1pPr>
            </a:lstStyle>
            <a:p>
              <a:pPr defTabSz="412750" hangingPunct="0"/>
              <a:r>
                <a:rPr sz="1500" kern="0" dirty="0" err="1"/>
                <a:t>Inversión</a:t>
              </a:r>
              <a:r>
                <a:rPr sz="1500" kern="0" dirty="0"/>
                <a:t>/</a:t>
              </a:r>
              <a:endParaRPr lang="es-ES" sz="1500" kern="0" dirty="0"/>
            </a:p>
            <a:p>
              <a:pPr defTabSz="412750" hangingPunct="0"/>
              <a:r>
                <a:rPr sz="1500" kern="0" dirty="0" err="1"/>
                <a:t>Financiación</a:t>
              </a:r>
              <a:endParaRPr sz="1500" kern="0" dirty="0"/>
            </a:p>
          </p:txBody>
        </p:sp>
        <p:sp>
          <p:nvSpPr>
            <p:cNvPr id="836" name="Shape 836"/>
            <p:cNvSpPr/>
            <p:nvPr/>
          </p:nvSpPr>
          <p:spPr>
            <a:xfrm>
              <a:off x="12844408" y="6760503"/>
              <a:ext cx="1759535" cy="927177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lIns="35719" tIns="35719" rIns="35719" bIns="35719" anchor="ctr">
              <a:spAutoFit/>
            </a:bodyPr>
            <a:lstStyle/>
            <a:p>
              <a:pPr defTabSz="412750" hangingPunct="0">
                <a:lnSpc>
                  <a:spcPct val="90000"/>
                </a:lnSpc>
                <a:defRPr sz="2000">
                  <a:solidFill>
                    <a:srgbClr val="FFFFFF"/>
                  </a:solidFill>
                  <a:latin typeface="Univers LT Std 45 Light"/>
                  <a:ea typeface="Univers LT Std 45 Light"/>
                  <a:cs typeface="Univers LT Std 45 Light"/>
                  <a:sym typeface="Univers LT Std 45 Light"/>
                </a:defRPr>
              </a:pPr>
              <a:r>
                <a:rPr sz="1500" kern="0">
                  <a:solidFill>
                    <a:srgbClr val="FFFFFF"/>
                  </a:solidFill>
                  <a:latin typeface="Univers LT Std 45 Light"/>
                  <a:sym typeface="Univers LT Std 45 Light"/>
                </a:rPr>
                <a:t>Gestión de </a:t>
              </a:r>
              <a:r>
                <a:rPr sz="1500" kern="0">
                  <a:solidFill>
                    <a:srgbClr val="FFFFFF"/>
                  </a:solidFill>
                  <a:latin typeface="Univers LT Std 65 Bold"/>
                  <a:ea typeface="Univers LT Std 65 Bold"/>
                  <a:cs typeface="Univers LT Std 65 Bold"/>
                  <a:sym typeface="Univers LT Std 65 Bold"/>
                </a:rPr>
                <a:t>subvenciones</a:t>
              </a:r>
              <a:r>
                <a:rPr sz="1500" kern="0">
                  <a:solidFill>
                    <a:srgbClr val="FFFFFF"/>
                  </a:solidFill>
                  <a:latin typeface="Univers LT Std 45 Light"/>
                  <a:sym typeface="Univers LT Std 45 Light"/>
                </a:rPr>
                <a:t> y </a:t>
              </a:r>
              <a:r>
                <a:rPr sz="1500" kern="0">
                  <a:solidFill>
                    <a:srgbClr val="FFFFFF"/>
                  </a:solidFill>
                  <a:latin typeface="Univers LT Std 65 Bold"/>
                  <a:ea typeface="Univers LT Std 65 Bold"/>
                  <a:cs typeface="Univers LT Std 65 Bold"/>
                  <a:sym typeface="Univers LT Std 65 Bold"/>
                </a:rPr>
                <a:t>ayudas</a:t>
              </a:r>
            </a:p>
          </p:txBody>
        </p:sp>
        <p:grpSp>
          <p:nvGrpSpPr>
            <p:cNvPr id="839" name="Group 839"/>
            <p:cNvGrpSpPr/>
            <p:nvPr/>
          </p:nvGrpSpPr>
          <p:grpSpPr>
            <a:xfrm>
              <a:off x="11046370" y="6628347"/>
              <a:ext cx="1189471" cy="1189471"/>
              <a:chOff x="74979" y="0"/>
              <a:chExt cx="1189470" cy="1189470"/>
            </a:xfrm>
          </p:grpSpPr>
          <p:sp>
            <p:nvSpPr>
              <p:cNvPr id="837" name="Shape 837"/>
              <p:cNvSpPr/>
              <p:nvPr/>
            </p:nvSpPr>
            <p:spPr>
              <a:xfrm>
                <a:off x="74979" y="0"/>
                <a:ext cx="1189471" cy="1189471"/>
              </a:xfrm>
              <a:prstGeom prst="ellipse">
                <a:avLst/>
              </a:prstGeom>
              <a:solidFill>
                <a:srgbClr val="FFFFFF"/>
              </a:solidFill>
              <a:ln w="3175" cap="flat">
                <a:noFill/>
                <a:miter lim="400000"/>
              </a:ln>
              <a:effectLst/>
            </p:spPr>
            <p:txBody>
              <a:bodyPr wrap="square" lIns="25400" tIns="25400" rIns="25400" bIns="25400" numCol="1" anchor="ctr">
                <a:noAutofit/>
              </a:bodyPr>
              <a:lstStyle/>
              <a:p>
                <a:pPr algn="ctr" defTabSz="412749" hangingPunct="0">
                  <a:defRPr sz="2400">
                    <a:solidFill>
                      <a:srgbClr val="FFFFFF"/>
                    </a:solidFill>
                  </a:defRPr>
                </a:pPr>
                <a:endParaRPr kern="0">
                  <a:solidFill>
                    <a:srgbClr val="FFFFFF"/>
                  </a:solidFill>
                  <a:latin typeface="Helvetica Light"/>
                  <a:sym typeface="Helvetica Light"/>
                </a:endParaRPr>
              </a:p>
            </p:txBody>
          </p:sp>
          <p:pic>
            <p:nvPicPr>
              <p:cNvPr id="838" name="pasted-image.pdf"/>
              <p:cNvPicPr>
                <a:picLocks noChangeAspect="1"/>
              </p:cNvPicPr>
              <p:nvPr/>
            </p:nvPicPr>
            <p:blipFill>
              <a:blip r:embed="rId8">
                <a:extLst/>
              </a:blip>
              <a:srcRect/>
              <a:stretch>
                <a:fillRect/>
              </a:stretch>
            </p:blipFill>
            <p:spPr>
              <a:xfrm>
                <a:off x="377340" y="305583"/>
                <a:ext cx="584748" cy="584748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</p:grpSp>
        <p:grpSp>
          <p:nvGrpSpPr>
            <p:cNvPr id="842" name="Group 842"/>
            <p:cNvGrpSpPr/>
            <p:nvPr/>
          </p:nvGrpSpPr>
          <p:grpSpPr>
            <a:xfrm>
              <a:off x="6582998" y="4882816"/>
              <a:ext cx="1189471" cy="1189471"/>
              <a:chOff x="0" y="0"/>
              <a:chExt cx="1189470" cy="1189470"/>
            </a:xfrm>
          </p:grpSpPr>
          <p:sp>
            <p:nvSpPr>
              <p:cNvPr id="840" name="Shape 840"/>
              <p:cNvSpPr/>
              <p:nvPr/>
            </p:nvSpPr>
            <p:spPr>
              <a:xfrm>
                <a:off x="0" y="0"/>
                <a:ext cx="1189471" cy="1189471"/>
              </a:xfrm>
              <a:prstGeom prst="ellipse">
                <a:avLst/>
              </a:prstGeom>
              <a:solidFill>
                <a:srgbClr val="FFFFFF"/>
              </a:solidFill>
              <a:ln w="3175" cap="flat">
                <a:noFill/>
                <a:miter lim="400000"/>
              </a:ln>
              <a:effectLst/>
            </p:spPr>
            <p:txBody>
              <a:bodyPr wrap="square" lIns="25400" tIns="25400" rIns="25400" bIns="25400" numCol="1" anchor="ctr">
                <a:noAutofit/>
              </a:bodyPr>
              <a:lstStyle/>
              <a:p>
                <a:pPr algn="ctr" defTabSz="412749" hangingPunct="0">
                  <a:defRPr sz="2400">
                    <a:solidFill>
                      <a:srgbClr val="FFFFFF"/>
                    </a:solidFill>
                  </a:defRPr>
                </a:pPr>
                <a:endParaRPr kern="0">
                  <a:solidFill>
                    <a:srgbClr val="FFFFFF"/>
                  </a:solidFill>
                  <a:latin typeface="Helvetica Light"/>
                  <a:sym typeface="Helvetica Light"/>
                </a:endParaRPr>
              </a:p>
            </p:txBody>
          </p:sp>
          <p:pic>
            <p:nvPicPr>
              <p:cNvPr id="841" name="pasted-image.pdf"/>
              <p:cNvPicPr>
                <a:picLocks noChangeAspect="1"/>
              </p:cNvPicPr>
              <p:nvPr/>
            </p:nvPicPr>
            <p:blipFill>
              <a:blip r:embed="rId9">
                <a:extLst/>
              </a:blip>
              <a:srcRect/>
              <a:stretch>
                <a:fillRect/>
              </a:stretch>
            </p:blipFill>
            <p:spPr>
              <a:xfrm>
                <a:off x="130997" y="308008"/>
                <a:ext cx="927475" cy="510005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</p:grpSp>
        <p:grpSp>
          <p:nvGrpSpPr>
            <p:cNvPr id="845" name="Group 845"/>
            <p:cNvGrpSpPr/>
            <p:nvPr/>
          </p:nvGrpSpPr>
          <p:grpSpPr>
            <a:xfrm>
              <a:off x="6582998" y="6630367"/>
              <a:ext cx="1189471" cy="1189471"/>
              <a:chOff x="0" y="0"/>
              <a:chExt cx="1189470" cy="1189470"/>
            </a:xfrm>
          </p:grpSpPr>
          <p:sp>
            <p:nvSpPr>
              <p:cNvPr id="843" name="Shape 843"/>
              <p:cNvSpPr/>
              <p:nvPr/>
            </p:nvSpPr>
            <p:spPr>
              <a:xfrm>
                <a:off x="0" y="0"/>
                <a:ext cx="1189471" cy="1189471"/>
              </a:xfrm>
              <a:prstGeom prst="ellipse">
                <a:avLst/>
              </a:prstGeom>
              <a:solidFill>
                <a:srgbClr val="FFFFFF"/>
              </a:solidFill>
              <a:ln w="3175" cap="flat">
                <a:noFill/>
                <a:miter lim="400000"/>
              </a:ln>
              <a:effectLst/>
            </p:spPr>
            <p:txBody>
              <a:bodyPr wrap="square" lIns="25400" tIns="25400" rIns="25400" bIns="25400" numCol="1" anchor="ctr">
                <a:noAutofit/>
              </a:bodyPr>
              <a:lstStyle/>
              <a:p>
                <a:pPr algn="ctr" defTabSz="412749" hangingPunct="0">
                  <a:defRPr sz="2400">
                    <a:solidFill>
                      <a:srgbClr val="FFFFFF"/>
                    </a:solidFill>
                  </a:defRPr>
                </a:pPr>
                <a:endParaRPr kern="0">
                  <a:solidFill>
                    <a:srgbClr val="FFFFFF"/>
                  </a:solidFill>
                  <a:latin typeface="Helvetica Light"/>
                  <a:sym typeface="Helvetica Light"/>
                </a:endParaRPr>
              </a:p>
            </p:txBody>
          </p:sp>
          <p:pic>
            <p:nvPicPr>
              <p:cNvPr id="844" name="pasted-image.pdf"/>
              <p:cNvPicPr>
                <a:picLocks noChangeAspect="1"/>
              </p:cNvPicPr>
              <p:nvPr/>
            </p:nvPicPr>
            <p:blipFill>
              <a:blip r:embed="rId10">
                <a:extLst/>
              </a:blip>
              <a:srcRect/>
              <a:stretch>
                <a:fillRect/>
              </a:stretch>
            </p:blipFill>
            <p:spPr>
              <a:xfrm>
                <a:off x="293675" y="297620"/>
                <a:ext cx="602120" cy="600674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</p:grpSp>
        <p:pic>
          <p:nvPicPr>
            <p:cNvPr id="848" name="pasted-image.pdf"/>
            <p:cNvPicPr>
              <a:picLocks noChangeAspect="1"/>
            </p:cNvPicPr>
            <p:nvPr/>
          </p:nvPicPr>
          <p:blipFill>
            <a:blip r:embed="rId11">
              <a:extLst/>
            </a:blip>
            <a:stretch>
              <a:fillRect/>
            </a:stretch>
          </p:blipFill>
          <p:spPr>
            <a:xfrm>
              <a:off x="6846325" y="3399602"/>
              <a:ext cx="662818" cy="662819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849" name="pasted-image.pdf"/>
            <p:cNvPicPr>
              <a:picLocks noChangeAspect="1"/>
            </p:cNvPicPr>
            <p:nvPr/>
          </p:nvPicPr>
          <p:blipFill>
            <a:blip r:embed="rId12">
              <a:extLst/>
            </a:blip>
            <a:stretch>
              <a:fillRect/>
            </a:stretch>
          </p:blipFill>
          <p:spPr>
            <a:xfrm>
              <a:off x="11257422" y="5163227"/>
              <a:ext cx="767368" cy="628650"/>
            </a:xfrm>
            <a:prstGeom prst="rect">
              <a:avLst/>
            </a:prstGeom>
            <a:ln w="12700">
              <a:miter lim="400000"/>
            </a:ln>
          </p:spPr>
        </p:pic>
        <p:pic>
          <p:nvPicPr>
            <p:cNvPr id="850" name="pasted-image.pdf"/>
            <p:cNvPicPr>
              <a:picLocks noChangeAspect="1"/>
            </p:cNvPicPr>
            <p:nvPr/>
          </p:nvPicPr>
          <p:blipFill>
            <a:blip r:embed="rId13">
              <a:extLst/>
            </a:blip>
            <a:stretch>
              <a:fillRect/>
            </a:stretch>
          </p:blipFill>
          <p:spPr>
            <a:xfrm rot="2700000">
              <a:off x="11376040" y="3284552"/>
              <a:ext cx="502864" cy="892767"/>
            </a:xfrm>
            <a:prstGeom prst="rect">
              <a:avLst/>
            </a:prstGeom>
            <a:ln w="12700">
              <a:miter lim="400000"/>
            </a:ln>
          </p:spPr>
        </p:pic>
      </p:grpSp>
    </p:spTree>
    <p:extLst>
      <p:ext uri="{BB962C8B-B14F-4D97-AF65-F5344CB8AC3E}">
        <p14:creationId xmlns:p14="http://schemas.microsoft.com/office/powerpoint/2010/main" val="191700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6.pn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6.png"/></Relationships>
</file>

<file path=ppt/theme/_rels/theme5.xml.rels><?xml version="1.0" encoding="UTF-8" standalone="yes"?>
<Relationships xmlns="http://schemas.openxmlformats.org/package/2006/relationships"><Relationship Id="rId1" Type="http://schemas.openxmlformats.org/officeDocument/2006/relationships/image" Target="../media/image6.png"/></Relationships>
</file>

<file path=ppt/theme/theme1.xml><?xml version="1.0" encoding="utf-8"?>
<a:theme xmlns:a="http://schemas.openxmlformats.org/drawingml/2006/main" name="ENDESA_PPTtemplate_v2-7JPEG+VECTORLOGO">
  <a:themeElements>
    <a:clrScheme name="ENEL">
      <a:dk1>
        <a:sysClr val="windowText" lastClr="000000"/>
      </a:dk1>
      <a:lt1>
        <a:sysClr val="window" lastClr="FFFFFF"/>
      </a:lt1>
      <a:dk2>
        <a:srgbClr val="C6C6C6"/>
      </a:dk2>
      <a:lt2>
        <a:srgbClr val="EDEEE8"/>
      </a:lt2>
      <a:accent1>
        <a:srgbClr val="0655FA"/>
      </a:accent1>
      <a:accent2>
        <a:srgbClr val="40B9E6"/>
      </a:accent2>
      <a:accent3>
        <a:srgbClr val="E71401"/>
      </a:accent3>
      <a:accent4>
        <a:srgbClr val="FE0F64"/>
      </a:accent4>
      <a:accent5>
        <a:srgbClr val="028C59"/>
      </a:accent5>
      <a:accent6>
        <a:srgbClr val="55BD5A"/>
      </a:accent6>
      <a:hlink>
        <a:srgbClr val="000000"/>
      </a:hlink>
      <a:folHlink>
        <a:srgbClr val="0000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16 ESP - Plantilla PowerPoint de Endesa (Febrero - ESP)" id="{C133E7C2-AEB3-47A7-AD5C-B03198CF9B9D}" vid="{F580C53B-34A3-426F-9A1D-EB881970F806}"/>
    </a:ext>
  </a:extLst>
</a:theme>
</file>

<file path=ppt/theme/theme2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25400" dist="127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25400" dist="127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3175" cap="flat">
          <a:noFill/>
          <a:miter lim="400000"/>
        </a:ln>
        <a:effectLst>
          <a:outerShdw blurRad="25400" dist="127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47625" tIns="47625" rIns="47625" bIns="47625" numCol="1" spcCol="38100" rtlCol="0" anchor="ctr">
        <a:spAutoFit/>
      </a:bodyPr>
      <a:lstStyle>
        <a:defPPr marL="0" marR="0" indent="0" algn="ctr" defTabSz="547687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3175" cap="flat">
          <a:noFill/>
          <a:miter lim="400000"/>
        </a:ln>
        <a:effectLst/>
        <a:sp3d/>
      </a:spPr>
      <a:bodyPr rot="0" spcFirstLastPara="1" vertOverflow="overflow" horzOverflow="overflow" vert="horz" wrap="square" lIns="47625" tIns="47625" rIns="47625" bIns="47625" numCol="1" spcCol="38100" rtlCol="0" anchor="ctr">
        <a:spAutoFit/>
      </a:bodyPr>
      <a:lstStyle>
        <a:defPPr marL="0" marR="0" indent="0" algn="ctr" defTabSz="547687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1_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25400" dist="127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25400" dist="127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3175" cap="flat">
          <a:noFill/>
          <a:miter lim="400000"/>
        </a:ln>
        <a:effectLst>
          <a:outerShdw blurRad="25400" dist="127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47625" tIns="47625" rIns="47625" bIns="47625" numCol="1" spcCol="38100" rtlCol="0" anchor="ctr">
        <a:spAutoFit/>
      </a:bodyPr>
      <a:lstStyle>
        <a:defPPr marL="0" marR="0" indent="0" algn="ctr" defTabSz="547687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3175" cap="flat">
          <a:noFill/>
          <a:miter lim="400000"/>
        </a:ln>
        <a:effectLst/>
        <a:sp3d/>
      </a:spPr>
      <a:bodyPr rot="0" spcFirstLastPara="1" vertOverflow="overflow" horzOverflow="overflow" vert="horz" wrap="square" lIns="47625" tIns="47625" rIns="47625" bIns="47625" numCol="1" spcCol="38100" rtlCol="0" anchor="ctr">
        <a:spAutoFit/>
      </a:bodyPr>
      <a:lstStyle>
        <a:defPPr marL="0" marR="0" indent="0" algn="ctr" defTabSz="547687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4.xml><?xml version="1.0" encoding="utf-8"?>
<a:theme xmlns:a="http://schemas.openxmlformats.org/drawingml/2006/main" name="2_White">
  <a:themeElements>
    <a:clrScheme name="White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"/>
        <a:ea typeface="Helvetica"/>
        <a:cs typeface="Helvetica"/>
      </a:majorFont>
      <a:minorFont>
        <a:latin typeface="Helvetica Neue"/>
        <a:ea typeface="Helvetica Neue"/>
        <a:cs typeface="Helvetica Neue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25400" dist="127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25400" dist="127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25400" dist="127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25400" dist="127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47625" tIns="47625" rIns="47625" bIns="47625" numCol="1" spcCol="38100" rtlCol="0" anchor="ctr">
        <a:spAutoFit/>
      </a:bodyPr>
      <a:lstStyle>
        <a:defPPr marL="0" marR="0" indent="0" algn="ctr" defTabSz="547687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Light"/>
            <a:ea typeface="Helvetica Light"/>
            <a:cs typeface="Helvetica Light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25400" dist="127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7625" tIns="47625" rIns="47625" bIns="47625" numCol="1" spcCol="38100" rtlCol="0" anchor="ctr">
        <a:spAutoFit/>
      </a:bodyPr>
      <a:lstStyle>
        <a:defPPr marL="0" marR="0" indent="0" algn="ctr" defTabSz="547687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Light"/>
            <a:ea typeface="Helvetica Light"/>
            <a:cs typeface="Helvetica Light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5.xml><?xml version="1.0" encoding="utf-8"?>
<a:theme xmlns:a="http://schemas.openxmlformats.org/drawingml/2006/main" name="3_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25400" dist="127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25400" dist="127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3175" cap="flat">
          <a:noFill/>
          <a:miter lim="400000"/>
        </a:ln>
        <a:effectLst>
          <a:outerShdw blurRad="25400" dist="127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47625" tIns="47625" rIns="47625" bIns="47625" numCol="1" spcCol="38100" rtlCol="0" anchor="ctr">
        <a:spAutoFit/>
      </a:bodyPr>
      <a:lstStyle>
        <a:defPPr marL="0" marR="0" indent="0" algn="ctr" defTabSz="547687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3175" cap="flat">
          <a:noFill/>
          <a:miter lim="400000"/>
        </a:ln>
        <a:effectLst/>
        <a:sp3d/>
      </a:spPr>
      <a:bodyPr rot="0" spcFirstLastPara="1" vertOverflow="overflow" horzOverflow="overflow" vert="horz" wrap="square" lIns="47625" tIns="47625" rIns="47625" bIns="47625" numCol="1" spcCol="38100" rtlCol="0" anchor="ctr">
        <a:spAutoFit/>
      </a:bodyPr>
      <a:lstStyle>
        <a:defPPr marL="0" marR="0" indent="0" algn="ctr" defTabSz="547687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6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00</TotalTime>
  <Words>767</Words>
  <Application>Microsoft Office PowerPoint</Application>
  <PresentationFormat>Panorámica</PresentationFormat>
  <Paragraphs>171</Paragraphs>
  <Slides>10</Slides>
  <Notes>7</Notes>
  <HiddenSlides>0</HiddenSlides>
  <MMClips>0</MMClips>
  <ScaleCrop>false</ScaleCrop>
  <HeadingPairs>
    <vt:vector size="8" baseType="variant">
      <vt:variant>
        <vt:lpstr>Fuentes usadas</vt:lpstr>
      </vt:variant>
      <vt:variant>
        <vt:i4>16</vt:i4>
      </vt:variant>
      <vt:variant>
        <vt:lpstr>Tema</vt:lpstr>
      </vt:variant>
      <vt:variant>
        <vt:i4>5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10</vt:i4>
      </vt:variant>
    </vt:vector>
  </HeadingPairs>
  <TitlesOfParts>
    <vt:vector size="33" baseType="lpstr">
      <vt:lpstr>MS PGothic</vt:lpstr>
      <vt:lpstr>Arial</vt:lpstr>
      <vt:lpstr>Calibri</vt:lpstr>
      <vt:lpstr>Calibri Light</vt:lpstr>
      <vt:lpstr>Corbel</vt:lpstr>
      <vt:lpstr>Courier New</vt:lpstr>
      <vt:lpstr>Helvetica</vt:lpstr>
      <vt:lpstr>Helvetica Light</vt:lpstr>
      <vt:lpstr>Helvetica Neue</vt:lpstr>
      <vt:lpstr>Lucida Grande</vt:lpstr>
      <vt:lpstr>Lucida Sans</vt:lpstr>
      <vt:lpstr>Times New Roman</vt:lpstr>
      <vt:lpstr>Univers LT Std 45 Light</vt:lpstr>
      <vt:lpstr>Univers LT Std 55 Roman</vt:lpstr>
      <vt:lpstr>Univers LT Std 65 Bold</vt:lpstr>
      <vt:lpstr>Wingdings</vt:lpstr>
      <vt:lpstr>ENDESA_PPTtemplate_v2-7JPEG+VECTORLOGO</vt:lpstr>
      <vt:lpstr>White</vt:lpstr>
      <vt:lpstr>1_White</vt:lpstr>
      <vt:lpstr>2_White</vt:lpstr>
      <vt:lpstr>3_White</vt:lpstr>
      <vt:lpstr>Diapositiva de think-cell</vt:lpstr>
      <vt:lpstr>think-cell Slide</vt:lpstr>
      <vt:lpstr>Presentación de PowerPoint</vt:lpstr>
      <vt:lpstr>Presentación de PowerPoint</vt:lpstr>
      <vt:lpstr>Presentación de PowerPoint</vt:lpstr>
      <vt:lpstr>¿Existen alternativas?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En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ornadas ALDEFE</dc:title>
  <dc:creator>Mozos Rollan, Alejandro</dc:creator>
  <cp:lastModifiedBy>Mozos Rollan, Alejandro</cp:lastModifiedBy>
  <cp:revision>61</cp:revision>
  <dcterms:created xsi:type="dcterms:W3CDTF">2018-06-05T14:57:31Z</dcterms:created>
  <dcterms:modified xsi:type="dcterms:W3CDTF">2018-06-15T11:49:24Z</dcterms:modified>
</cp:coreProperties>
</file>